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11" r:id="rId3"/>
  </p:sldMasterIdLst>
  <p:notesMasterIdLst>
    <p:notesMasterId r:id="rId28"/>
  </p:notesMasterIdLst>
  <p:sldIdLst>
    <p:sldId id="2147478122" r:id="rId4"/>
    <p:sldId id="2147478139" r:id="rId5"/>
    <p:sldId id="2147478188" r:id="rId6"/>
    <p:sldId id="2147478227" r:id="rId7"/>
    <p:sldId id="2147478229" r:id="rId8"/>
    <p:sldId id="2147478230" r:id="rId9"/>
    <p:sldId id="2147478239" r:id="rId10"/>
    <p:sldId id="2147478240" r:id="rId11"/>
    <p:sldId id="2147478123" r:id="rId12"/>
    <p:sldId id="2147478210" r:id="rId13"/>
    <p:sldId id="2147478211" r:id="rId14"/>
    <p:sldId id="2147478212" r:id="rId15"/>
    <p:sldId id="2147478213" r:id="rId16"/>
    <p:sldId id="2147478223" r:id="rId17"/>
    <p:sldId id="2147478224" r:id="rId18"/>
    <p:sldId id="2147478225" r:id="rId19"/>
    <p:sldId id="2147478222" r:id="rId20"/>
    <p:sldId id="2147478226" r:id="rId21"/>
    <p:sldId id="2147478214" r:id="rId22"/>
    <p:sldId id="2147478216" r:id="rId23"/>
    <p:sldId id="2147478217" r:id="rId24"/>
    <p:sldId id="2147478218" r:id="rId25"/>
    <p:sldId id="2147478182" r:id="rId26"/>
    <p:sldId id="2147477376" r:id="rId2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36614EDA-B6A4-4180-87B9-17949354FCD5}">
          <p14:sldIdLst>
            <p14:sldId id="2147478122"/>
            <p14:sldId id="2147478139"/>
          </p14:sldIdLst>
        </p14:section>
        <p14:section name="A-2" id="{DE897F3E-9F95-459D-BD4E-660B286B2F01}">
          <p14:sldIdLst>
            <p14:sldId id="2147478188"/>
            <p14:sldId id="2147478227"/>
            <p14:sldId id="2147478229"/>
            <p14:sldId id="2147478230"/>
            <p14:sldId id="2147478239"/>
            <p14:sldId id="2147478240"/>
            <p14:sldId id="2147478123"/>
          </p14:sldIdLst>
        </p14:section>
        <p14:section name="A-1" id="{0E192F04-DC42-4606-800D-D7209F847747}">
          <p14:sldIdLst>
            <p14:sldId id="2147478210"/>
            <p14:sldId id="2147478211"/>
            <p14:sldId id="2147478212"/>
            <p14:sldId id="2147478213"/>
            <p14:sldId id="2147478223"/>
            <p14:sldId id="2147478224"/>
            <p14:sldId id="2147478225"/>
            <p14:sldId id="2147478222"/>
            <p14:sldId id="2147478226"/>
            <p14:sldId id="2147478214"/>
            <p14:sldId id="2147478216"/>
            <p14:sldId id="2147478217"/>
            <p14:sldId id="2147478218"/>
          </p14:sldIdLst>
        </p14:section>
        <p14:section name="Outro" id="{8710B1EE-208A-4CAA-B07F-B45BA08AC48E}">
          <p14:sldIdLst>
            <p14:sldId id="2147478182"/>
            <p14:sldId id="214747737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72" autoAdjust="0"/>
    <p:restoredTop sz="96279" autoAdjust="0"/>
  </p:normalViewPr>
  <p:slideViewPr>
    <p:cSldViewPr snapToGrid="0">
      <p:cViewPr>
        <p:scale>
          <a:sx n="100" d="100"/>
          <a:sy n="100" d="100"/>
        </p:scale>
        <p:origin x="210" y="61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361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A9BD7E-2E6F-4B1A-99AF-1A1AC616FF08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5032AF-78E7-4AA5-B64C-F2B5585C8B0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959028C5-C94A-1783-A8FB-5AA362A2EE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0195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8CDB4B-5704-4CF8-BD22-FB66899D3A0E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542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5268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1362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0425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41043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0214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0038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3848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5032AF-78E7-4AA5-B64C-F2B5585C8B0B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041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18E469-7182-26FD-FFC5-6D204D622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BEE5FA6-F8BD-28E3-F26A-B93AC644A1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54AA263-EBAB-8C58-AEE6-46A82DE87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E3FEC35-CF1A-EB67-D321-F92E14805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7A786C2-2F13-B8C5-88DE-648FC8FFF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71332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4E3DED6-2D82-4B2B-73F9-A60B1C45A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F949EE9-0D70-4A0B-4E4C-F2CDB3A9B9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901FAEC-C363-BC05-7895-7B644E4363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7448C5C-A549-42A4-4E47-E31D81192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29117A7-032D-95CC-48EE-CAA3513F9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6373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724032BE-BD79-142C-CBF4-1626F1193C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AABF2A1B-9BC1-498E-46E4-0897E097BE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3B09E62-F5E1-E020-27BB-3E6B6EE891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6CB374D-75E3-DB93-9216-3EDDCCC63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FECA1FB-4E98-2474-3748-AB46A4792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83359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689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2635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332155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45933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00573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75728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58941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86802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189A642-1FBB-92BB-7451-D456F3843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21A3B7D-BED3-31F3-ED64-2A0E9B3869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951ED96-034E-251C-4726-D2C543A9A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0DEF736-AFC4-A51B-2BF8-66E056508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F673DF8-6D45-7D98-1395-E49C08382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5769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785789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858799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79414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92229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679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4770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4729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82247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80130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10078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533B5-1A8D-83A1-0D53-115A5F68F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8AD1C6C-EA8D-2AB2-4840-B50A8D9B16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2ECA4C7-937B-7EDE-A3CB-33A6CF4D8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BD24197-9063-7BB2-4438-0C1075986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8723B27-D7B3-35CC-F930-4982F8564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9281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689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93684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80"/>
            <a:ext cx="12192000" cy="1376513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/>
              <a:t>presentation title, two lines maximum.</a:t>
            </a:r>
            <a:br>
              <a:rPr lang="en-US" noProof="0"/>
            </a:br>
            <a:r>
              <a:rPr lang="en-US" noProof="0"/>
              <a:t>text can be moved vertically.</a:t>
            </a:r>
            <a:endParaRPr lang="de-DE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8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de-DE" noProof="0" err="1"/>
              <a:t>SubTitle</a:t>
            </a:r>
            <a:r>
              <a:rPr lang="de-DE" noProof="0"/>
              <a:t>,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</a:t>
            </a:r>
            <a:r>
              <a:rPr lang="en-US" noProof="0"/>
              <a:t>maximum</a:t>
            </a:r>
            <a:r>
              <a:rPr lang="de-DE" noProof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1" y="572399"/>
            <a:ext cx="1099907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5" name="SmartArt-Platzhalter 4">
            <a:extLst>
              <a:ext uri="{FF2B5EF4-FFF2-40B4-BE49-F238E27FC236}">
                <a16:creationId xmlns:a16="http://schemas.microsoft.com/office/drawing/2014/main" id="{73B3AC2F-1421-44A9-82DC-26A810DF23F2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7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2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err="1"/>
              <a:t>Dept</a:t>
            </a:r>
            <a:r>
              <a:rPr lang="de-DE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6D8BA9B-D435-4BCF-A70E-9FF7917FFF4A}"/>
              </a:ext>
            </a:extLst>
          </p:cNvPr>
          <p:cNvSpPr/>
          <p:nvPr userDrawn="1"/>
        </p:nvSpPr>
        <p:spPr bwMode="white">
          <a:xfrm>
            <a:off x="11001080" y="6608192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071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9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6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/>
        </p:nvSpPr>
        <p:spPr bwMode="white">
          <a:xfrm>
            <a:off x="11001080" y="6608190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62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28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6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SmartArt-Platzhalter 4">
            <a:extLst>
              <a:ext uri="{FF2B5EF4-FFF2-40B4-BE49-F238E27FC236}">
                <a16:creationId xmlns:a16="http://schemas.microsoft.com/office/drawing/2014/main" id="{73B3AC2F-1421-44A9-82DC-26A810DF23F2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5D818F0-43D9-475A-9A13-7C9EE81A3658}"/>
              </a:ext>
            </a:extLst>
          </p:cNvPr>
          <p:cNvSpPr/>
          <p:nvPr/>
        </p:nvSpPr>
        <p:spPr bwMode="white">
          <a:xfrm>
            <a:off x="11001080" y="6608190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939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2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2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8539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4225699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6365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907224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4290586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30493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FB4558B-9E05-25DD-8490-0AA6167C8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9498754-07B1-94F1-3F45-30B4ED3FEA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0CED9ED-FD95-3496-FE52-2146ED23D4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4DBE51C-56DC-C894-8C0C-B0EB6D9DB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55D8B74-BDB2-A466-97A3-D123077AB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A101200-5A7B-1FC2-34FC-69977BF23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81839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33116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24884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70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7602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1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9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79661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90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8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90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8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935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846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/>
        </p:nvSpPr>
        <p:spPr>
          <a:xfrm>
            <a:off x="0" y="1244599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610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1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48633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8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4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77078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90" y="1413934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4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8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1" y="3968799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8486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70" y="1413934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9" y="1413934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8" y="1413934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8" y="3876024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9" y="3876024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70" y="3876024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07043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CE364BE-F196-C150-49D2-D313D61AC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4E2A55D-38C5-9899-F270-B55408DCF2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EE1995D-22C8-9DEC-B766-5EBEF12A82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FA3E2F7-2473-6098-FC4A-86BBF3FC50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F7314B7-4220-7FC3-CE2A-B6A13F686E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0E2720A5-6B45-9B17-927F-C8C58CE5AE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6952A9C-6037-601A-2F47-DE7AE6A86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B13DB755-A690-080F-F9A3-4298C26A1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40989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1" y="1413935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90" y="1413935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9" y="1413935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8" y="1413935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9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1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699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6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64330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0CF155A-23F4-18B9-E2D6-01FCC7CA57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86634"/>
            <a:ext cx="9144000" cy="92333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A1EB27-889D-ED08-B435-F0D3F8F7BB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BD0930D-9022-6114-D7A3-D551D5E59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2F469-5661-4835-A3B3-6C2C1523FD53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5B150A7-4E6A-75C3-FE8C-5EF8A6C5F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53E9C58-DE1F-6C73-5BC4-A5CCAF13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3A521-BE57-4E71-9C42-973148703A3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9905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EA23798-DD5B-9C07-209D-DCC1E4B36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53931F5A-D342-0606-127C-B5BDD101F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8A31F0C-B518-55DD-A3B8-52A39E1C0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3AC276FF-922B-7DE7-225C-20426A1CD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206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6EC4AA3-6511-890C-C052-C70F715B4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6179E965-2461-5085-EA20-A2A20E062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9D8CFE-B7C5-B1EE-C2AC-68B8A962C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72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D289CB7-DA91-A598-4090-4E34138DA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10B027D-9655-A6C6-F953-9B0E63AD49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FE2D614-E03C-D213-A2F2-68BA3AB7F9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65430F2-AE3F-F6A3-1F1D-F1E91F9BD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C07C61C-B26B-62C7-9F25-1D2778019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711E408-ACD7-FEDB-B7A0-6F832C36C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3181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2FC2C88-D79C-9003-2F3F-DDB718BE0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71107D1A-F105-6F98-BDDA-C2C4049841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B4E9847-092B-5DF3-FB02-D76C44C876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5194494-B1CD-F664-A41C-E0644719C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F4AF1E1-69F5-FAA1-04C1-D0B6CF1EF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5469A48-9409-52F4-8A68-AE3720AD0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6276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2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6FD977F-BBB9-2A98-0796-ABF7D6B9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99D18F0-CED8-95FE-A42F-D639671AB2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13B13CA-6F77-2BCD-7404-CE844F12E7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9FFCDE2-1D19-418E-8AD0-C5CC4DC165A2}" type="datetimeFigureOut">
              <a:rPr lang="ko-KR" altLang="en-US" smtClean="0"/>
              <a:t>2025-06-2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74C1E4-0B3C-5E7F-CA15-99EF65247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584DA81-1B25-8E64-265A-A67323BAD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2779AF-504A-445E-AA02-011A94063B09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3168EF-636A-A223-4EFF-4DB0F317A3F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49784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25515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FG-AP-52 | 2025 | Inter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B09F13-8836-3A93-2AA2-9A989561AF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65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 ftr="0" dt="0"/>
  <p:txStyles>
    <p:titleStyle>
      <a:lvl1pPr algn="l" defTabSz="914400" rtl="0" eaLnBrk="1" latin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/>
        </p:nvSpPr>
        <p:spPr>
          <a:xfrm>
            <a:off x="11420282" y="6638189"/>
            <a:ext cx="29335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E2B599-ACBE-39DD-9D87-612163FF186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  <p:sp>
        <p:nvSpPr>
          <p:cNvPr id="6" name="FußzeileAU1">
            <a:extLst>
              <a:ext uri="{FF2B5EF4-FFF2-40B4-BE49-F238E27FC236}">
                <a16:creationId xmlns:a16="http://schemas.microsoft.com/office/drawing/2014/main" id="{61DD17B7-F05E-7925-D774-938ECB7E09F9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242328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C3-KR-A | 2025 | Interns</a:t>
            </a:r>
          </a:p>
        </p:txBody>
      </p:sp>
    </p:spTree>
    <p:extLst>
      <p:ext uri="{BB962C8B-B14F-4D97-AF65-F5344CB8AC3E}">
        <p14:creationId xmlns:p14="http://schemas.microsoft.com/office/powerpoint/2010/main" val="208169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</p:sldLayoutIdLst>
  <p:hf sldNum="0" hdr="0" ftr="0" dt="0"/>
  <p:txStyles>
    <p:titleStyle>
      <a:lvl1pPr algn="l" defTabSz="914446" rtl="0" eaLnBrk="1" latin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10" indent="-190810" algn="l" defTabSz="914446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19" indent="-190810" algn="l" defTabSz="914446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29" indent="-190810" algn="l" defTabSz="914446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38" indent="-190810" algn="l" defTabSz="914446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48" indent="-190810" algn="l" defTabSz="914446" rtl="0" eaLnBrk="1" latinLnBrk="1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56.png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A33228E-CCF6-6C3A-AB27-661124C529C3}"/>
              </a:ext>
            </a:extLst>
          </p:cNvPr>
          <p:cNvSpPr/>
          <p:nvPr/>
        </p:nvSpPr>
        <p:spPr>
          <a:xfrm>
            <a:off x="-1" y="0"/>
            <a:ext cx="12192001" cy="219422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0">
                <a:schemeClr val="accent6">
                  <a:lumMod val="10000"/>
                  <a:alpha val="56000"/>
                </a:schemeClr>
              </a:gs>
              <a:gs pos="100000">
                <a:schemeClr val="bg1">
                  <a:lumMod val="0"/>
                  <a:alpha val="0"/>
                </a:schemeClr>
              </a:gs>
            </a:gsLst>
            <a:lin ang="5400000" scaled="1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el 32">
            <a:extLst>
              <a:ext uri="{FF2B5EF4-FFF2-40B4-BE49-F238E27FC236}">
                <a16:creationId xmlns:a16="http://schemas.microsoft.com/office/drawing/2014/main" id="{EBE30C26-7314-4F4E-B805-BC8F7FCB42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3"/>
            <a:ext cx="12192000" cy="760959"/>
          </a:xfrm>
        </p:spPr>
        <p:txBody>
          <a:bodyPr/>
          <a:lstStyle/>
          <a:p>
            <a:r>
              <a:rPr lang="en-GB" dirty="0">
                <a:latin typeface="BMWGroupTN Condensed" pitchFamily="50" charset="0"/>
              </a:rPr>
              <a:t>2025 1</a:t>
            </a:r>
            <a:r>
              <a:rPr lang="en-US" baseline="30000" dirty="0" err="1">
                <a:latin typeface="BMWGroupTN Condensed" pitchFamily="50" charset="0"/>
              </a:rPr>
              <a:t>st</a:t>
            </a:r>
            <a:r>
              <a:rPr lang="en-GB" dirty="0">
                <a:latin typeface="BMWGroupTN Condensed" pitchFamily="50" charset="0"/>
              </a:rPr>
              <a:t> Half internship program</a:t>
            </a:r>
          </a:p>
        </p:txBody>
      </p:sp>
      <p:sp>
        <p:nvSpPr>
          <p:cNvPr id="34" name="Untertitel 33">
            <a:extLst>
              <a:ext uri="{FF2B5EF4-FFF2-40B4-BE49-F238E27FC236}">
                <a16:creationId xmlns:a16="http://schemas.microsoft.com/office/drawing/2014/main" id="{41CF776B-D746-47E7-876D-C7A9609439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latin typeface="BMWGroupTN Condensed" pitchFamily="50" charset="0"/>
              </a:rPr>
              <a:t>Farewell session</a:t>
            </a:r>
          </a:p>
        </p:txBody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81393" y="5887328"/>
            <a:ext cx="3410609" cy="419100"/>
          </a:xfrm>
        </p:spPr>
        <p:txBody>
          <a:bodyPr/>
          <a:lstStyle/>
          <a:p>
            <a:pPr algn="ctr"/>
            <a:r>
              <a:rPr lang="en-US" dirty="0">
                <a:latin typeface="BMWGroupTN Condensed" pitchFamily="50" charset="0"/>
              </a:rPr>
              <a:t>FG-AP-52 </a:t>
            </a:r>
            <a:r>
              <a:rPr lang="en-GB" dirty="0">
                <a:latin typeface="BMWGroupTN Condensed" pitchFamily="50" charset="0"/>
              </a:rPr>
              <a:t>/ </a:t>
            </a:r>
            <a:r>
              <a:rPr lang="en-US" dirty="0">
                <a:latin typeface="BMWGroupTN Condensed" pitchFamily="50" charset="0"/>
              </a:rPr>
              <a:t>INTERNS</a:t>
            </a:r>
            <a:endParaRPr lang="en-GB" dirty="0">
              <a:latin typeface="BMWGroupTN Condensed" pitchFamily="50" charset="0"/>
            </a:endParaRPr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6028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14AE5-D7F3-EE5F-F597-CC48A57930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FG-AP-52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3E7768-D632-90B8-5C54-2C78FED057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0860211-D526-62DC-1DBC-9F6ADFD9D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2566654"/>
            <a:ext cx="6975112" cy="861774"/>
          </a:xfrm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cap="small" dirty="0">
                <a:latin typeface="+mn-lt"/>
                <a:ea typeface="+mn-ea"/>
                <a:cs typeface="+mn-cs"/>
              </a:rPr>
              <a:t>IT INFRASTRUCTURE</a:t>
            </a:r>
            <a:br>
              <a:rPr lang="en-US" altLang="ko-KR" sz="2800" kern="1200" cap="sm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ko-KR" sz="2800" cap="small" dirty="0">
                <a:latin typeface="+mn-lt"/>
                <a:ea typeface="+mn-ea"/>
                <a:cs typeface="+mn-cs"/>
              </a:rPr>
              <a:t>RYU DONGHYUN</a:t>
            </a:r>
            <a:endParaRPr lang="en-US" altLang="ko-KR" sz="2800" kern="1200" cap="small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8528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개체 틀 9">
            <a:extLst>
              <a:ext uri="{FF2B5EF4-FFF2-40B4-BE49-F238E27FC236}">
                <a16:creationId xmlns:a16="http://schemas.microsoft.com/office/drawing/2014/main" id="{D057913B-66B2-9EE4-FFDF-3E9DADDC606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1668" t="32772" r="1668" b="32772"/>
          <a:stretch/>
        </p:blipFill>
        <p:spPr>
          <a:xfrm>
            <a:off x="4302508" y="1413933"/>
            <a:ext cx="3597561" cy="224608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그림 개체 틀 8">
            <a:extLst>
              <a:ext uri="{FF2B5EF4-FFF2-40B4-BE49-F238E27FC236}">
                <a16:creationId xmlns:a16="http://schemas.microsoft.com/office/drawing/2014/main" id="{2E84ED7A-C097-84BF-E58F-86B3210A16F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l="12466" t="12834" r="20270" b="13580"/>
          <a:stretch/>
        </p:blipFill>
        <p:spPr>
          <a:xfrm>
            <a:off x="488947" y="1413933"/>
            <a:ext cx="3597561" cy="22460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제목 4">
            <a:extLst>
              <a:ext uri="{FF2B5EF4-FFF2-40B4-BE49-F238E27FC236}">
                <a16:creationId xmlns:a16="http://schemas.microsoft.com/office/drawing/2014/main" id="{26D3AC5A-352D-B287-D733-E53902B46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My goals for the internship</a:t>
            </a:r>
            <a:endParaRPr lang="ko-KR" altLang="en-US" sz="3200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9B46F79-D624-AC84-6F24-95F3B68B78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8947" y="3876022"/>
            <a:ext cx="3597561" cy="2634793"/>
          </a:xfrm>
        </p:spPr>
        <p:txBody>
          <a:bodyPr/>
          <a:lstStyle/>
          <a:p>
            <a:pPr algn="ctr"/>
            <a:r>
              <a:rPr lang="en-US" altLang="ko-KR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6 MONTHS OF INTERNSHIP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Through long-term work engagement,</a:t>
            </a:r>
            <a:br>
              <a:rPr lang="en-US" altLang="ko-KR" sz="15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cultivate practical contributions and practical work skills.</a:t>
            </a:r>
            <a:br>
              <a:rPr lang="en-US" altLang="ko-KR" sz="14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endParaRPr lang="en-US" altLang="ko-KR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  <a:p>
            <a:pPr algn="ctr">
              <a:lnSpc>
                <a:spcPts val="1800"/>
              </a:lnSpc>
            </a:pPr>
            <a:r>
              <a:rPr lang="en-US" altLang="ko-KR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FG-AP-52 INTERN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Directly experience the infrastructure processes as an intern in the INFRASTRUCTURE department.</a:t>
            </a:r>
            <a:br>
              <a:rPr lang="en-US" altLang="ko-KR" sz="14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Strengthening Infrastructure Skills</a:t>
            </a:r>
            <a:endParaRPr lang="ko-KR" altLang="en-US" b="1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8E02FE27-429D-83E7-14B5-A5F47B50F8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02508" y="3876023"/>
            <a:ext cx="3597561" cy="2634792"/>
          </a:xfrm>
        </p:spPr>
        <p:txBody>
          <a:bodyPr/>
          <a:lstStyle/>
          <a:p>
            <a:pPr algn="ctr">
              <a:lnSpc>
                <a:spcPts val="1800"/>
              </a:lnSpc>
            </a:pPr>
            <a:r>
              <a:rPr lang="en-US" altLang="ko-KR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BMW</a:t>
            </a:r>
            <a:r>
              <a:rPr lang="ko-KR" altLang="en-US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KOREA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As an intern at BMW, the leading luxury car company, have a unique and competitive opportunity for industry experience.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endParaRPr lang="en-US" altLang="ko-KR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  <a:p>
            <a:pPr algn="ctr">
              <a:lnSpc>
                <a:spcPts val="1800"/>
              </a:lnSpc>
            </a:pPr>
            <a:r>
              <a:rPr lang="en-US" altLang="ko-KR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Mobility MARKET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sz="1500" dirty="0">
                <a:solidFill>
                  <a:srgbClr val="353A41"/>
                </a:solidFill>
                <a:latin typeface="BMWGroupTN Condensed Pro"/>
                <a:ea typeface="맑은 고딕" panose="020B0503020000020004" pitchFamily="50" charset="-127"/>
              </a:rPr>
              <a:t>Learning about the automative industry</a:t>
            </a:r>
            <a:r>
              <a:rPr lang="en-US" altLang="ko-KR" sz="1600" b="0" i="0" dirty="0">
                <a:solidFill>
                  <a:srgbClr val="353A41"/>
                </a:solidFill>
                <a:effectLst/>
                <a:latin typeface="BMWGroupTN Condensed Pro"/>
              </a:rPr>
              <a:t>.</a:t>
            </a: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sz="16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sz="16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Understanding of the mobility industry</a:t>
            </a:r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C9CC28FC-2DDB-BABA-B176-0FC36978717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16069" y="3876022"/>
            <a:ext cx="3597561" cy="2796381"/>
          </a:xfrm>
        </p:spPr>
        <p:txBody>
          <a:bodyPr/>
          <a:lstStyle/>
          <a:p>
            <a:pPr algn="ctr">
              <a:lnSpc>
                <a:spcPts val="1800"/>
              </a:lnSpc>
            </a:pPr>
            <a:r>
              <a:rPr lang="en-US" altLang="ko-KR" b="1" i="1" dirty="0">
                <a:effectLst/>
                <a:latin typeface="BMW Group Condensed" panose="020B0606020202020204" pitchFamily="34" charset="0"/>
              </a:rPr>
              <a:t>ONE STEP CLOSER TO SOCIETY</a:t>
            </a:r>
            <a:br>
              <a:rPr lang="en-US" altLang="ko-KR" b="0" i="0" dirty="0">
                <a:effectLst/>
                <a:latin typeface="BMW Group Condensed" panose="020B0606020202020204" pitchFamily="34" charset="0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Preparing to step out of school and </a:t>
            </a:r>
            <a:b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into society.</a:t>
            </a:r>
            <a:br>
              <a:rPr lang="en-US" altLang="ko-KR" sz="1400" dirty="0">
                <a:effectLst/>
                <a:latin typeface="BMW Group Condensed" panose="020B0606020202020204" pitchFamily="34" charset="0"/>
              </a:rPr>
            </a:br>
            <a:br>
              <a:rPr lang="en-US" altLang="ko-KR" sz="1400" dirty="0">
                <a:latin typeface="BMW Group Condensed" panose="020B0606020202020204" pitchFamily="34" charset="0"/>
              </a:rPr>
            </a:br>
            <a:endParaRPr lang="en-US" altLang="ko-KR" sz="1400" b="1" i="1" dirty="0">
              <a:latin typeface="BMW Group Condensed" panose="020B0606020202020204" pitchFamily="34" charset="0"/>
            </a:endParaRPr>
          </a:p>
          <a:p>
            <a:pPr algn="ctr">
              <a:lnSpc>
                <a:spcPts val="1800"/>
              </a:lnSpc>
            </a:pPr>
            <a:r>
              <a:rPr lang="en-US" altLang="ko-KR" b="1" i="1" dirty="0">
                <a:effectLst/>
                <a:latin typeface="BMW Group Condensed" panose="020B0606020202020204" pitchFamily="34" charset="0"/>
              </a:rPr>
              <a:t>ENSURING MY CAREER PATH</a:t>
            </a:r>
            <a:br>
              <a:rPr lang="en-US" altLang="ko-KR" b="0" i="0" dirty="0">
                <a:effectLst/>
                <a:latin typeface="BMW Group Condensed" panose="020B0606020202020204" pitchFamily="34" charset="0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Reconfirming my job skills, interests,</a:t>
            </a:r>
            <a:b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</a:br>
            <a:r>
              <a:rPr lang="en-US" altLang="ko-KR" sz="1500" b="0" i="0" dirty="0">
                <a:solidFill>
                  <a:srgbClr val="353A41"/>
                </a:solidFill>
                <a:effectLst/>
                <a:latin typeface="BMWGroupTN Condensed Pro"/>
              </a:rPr>
              <a:t> and aptitudes.</a:t>
            </a:r>
            <a:br>
              <a:rPr lang="en-US" altLang="ko-KR" sz="16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sz="16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sz="1600" dirty="0"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Personal growth and career exploration</a:t>
            </a:r>
            <a:endParaRPr lang="ko-KR" altLang="en-US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576EAA-D720-72A4-7455-D64EB3411C53}"/>
              </a:ext>
            </a:extLst>
          </p:cNvPr>
          <p:cNvSpPr txBox="1"/>
          <p:nvPr/>
        </p:nvSpPr>
        <p:spPr>
          <a:xfrm>
            <a:off x="463547" y="1136934"/>
            <a:ext cx="2766783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GAINING WORK EXPERIENCE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6BDC51-2FC9-B839-B0C0-BFED0A56AFF3}"/>
              </a:ext>
            </a:extLst>
          </p:cNvPr>
          <p:cNvSpPr txBox="1"/>
          <p:nvPr/>
        </p:nvSpPr>
        <p:spPr>
          <a:xfrm>
            <a:off x="4277108" y="1136934"/>
            <a:ext cx="3212418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353A4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UNDERSTANDING THE INDUSTRY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DC20B9-4887-98CE-EB42-2DFE11923F9D}"/>
              </a:ext>
            </a:extLst>
          </p:cNvPr>
          <p:cNvSpPr txBox="1"/>
          <p:nvPr/>
        </p:nvSpPr>
        <p:spPr>
          <a:xfrm>
            <a:off x="8090669" y="1136934"/>
            <a:ext cx="1997342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RSONAL GROWTH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pic>
        <p:nvPicPr>
          <p:cNvPr id="11" name="그림 개체 틀 10">
            <a:extLst>
              <a:ext uri="{FF2B5EF4-FFF2-40B4-BE49-F238E27FC236}">
                <a16:creationId xmlns:a16="http://schemas.microsoft.com/office/drawing/2014/main" id="{FEACEDC0-67D6-110E-DF02-26E7C41506A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94" b="2659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63865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CA7C60-163C-FB97-184E-9F9B125351F3}"/>
              </a:ext>
            </a:extLst>
          </p:cNvPr>
          <p:cNvSpPr txBox="1"/>
          <p:nvPr/>
        </p:nvSpPr>
        <p:spPr>
          <a:xfrm>
            <a:off x="2230500" y="5397640"/>
            <a:ext cx="1567737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20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Budget Handling</a:t>
            </a:r>
            <a:endParaRPr kumimoji="0" lang="ko-KR" altLang="en-US" sz="2000" b="0" i="0" u="none" strike="noStrike" kern="1200" cap="none" spc="-6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 descr="SAP 기업 분석, ERP의 지배자, 성장하는 tier 1 독일산 기업 - 내분비내과의사의 투자와 건강">
            <a:extLst>
              <a:ext uri="{FF2B5EF4-FFF2-40B4-BE49-F238E27FC236}">
                <a16:creationId xmlns:a16="http://schemas.microsoft.com/office/drawing/2014/main" id="{B39A167D-AEBF-4B36-042A-8D0689BB9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575" y="2341923"/>
            <a:ext cx="4389589" cy="2174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095528C3-4B06-0E23-E5B9-42B4D1AF3F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8751" y="1793986"/>
            <a:ext cx="2697760" cy="327002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5EF9C1B-2301-37BB-1E2A-DC786572BF83}"/>
              </a:ext>
            </a:extLst>
          </p:cNvPr>
          <p:cNvSpPr txBox="1"/>
          <p:nvPr/>
        </p:nvSpPr>
        <p:spPr>
          <a:xfrm>
            <a:off x="8934134" y="5397640"/>
            <a:ext cx="486993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20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GAIA</a:t>
            </a:r>
          </a:p>
        </p:txBody>
      </p:sp>
    </p:spTree>
    <p:extLst>
      <p:ext uri="{BB962C8B-B14F-4D97-AF65-F5344CB8AC3E}">
        <p14:creationId xmlns:p14="http://schemas.microsoft.com/office/powerpoint/2010/main" val="1038079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B3742B1-DF6D-32AF-F11C-53F004056E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148" y="901196"/>
            <a:ext cx="9940705" cy="5347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46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434FC03-1DD3-0EFA-0D27-EC5C74AFE8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792" y="839627"/>
            <a:ext cx="10230416" cy="5549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3235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9DC8CC2-B4CC-7DC0-9603-0E8A37945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570" y="839627"/>
            <a:ext cx="10474859" cy="566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32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1FD8362-8EEF-03A3-2312-1E4C158C6A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196" y="839627"/>
            <a:ext cx="10601608" cy="571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01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90943DCA-7061-F999-C511-7CC728590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7588" y="1055161"/>
            <a:ext cx="5996342" cy="5039596"/>
          </a:xfrm>
          <a:prstGeom prst="rect">
            <a:avLst/>
          </a:prstGeom>
        </p:spPr>
      </p:pic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5C0CB46-2F86-3887-68BB-16CA6BE047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70" y="1055161"/>
            <a:ext cx="4919720" cy="503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921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B7F2E10-9A30-2345-3B7B-C7BC22EC26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8257" y="839627"/>
            <a:ext cx="3409606" cy="5479528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9AB5BAE3-2DEB-EF79-8EFE-7B41A6A38F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3" r="-1479" b="2822"/>
          <a:stretch/>
        </p:blipFill>
        <p:spPr>
          <a:xfrm>
            <a:off x="6096000" y="839627"/>
            <a:ext cx="4409038" cy="1295581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9371188-0DAD-8CB4-9C6F-772B79F00F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8257" y="839627"/>
            <a:ext cx="8416781" cy="560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770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9B123A6-46DB-C00F-BC9B-5EF4FB598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Memorable moments at bmw</a:t>
            </a:r>
            <a:endParaRPr lang="ko-KR" altLang="en-US" sz="3200" dirty="0"/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C8BA4674-A86D-51EE-D28B-C6851FD5906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16068" y="3876023"/>
            <a:ext cx="3597561" cy="2432702"/>
          </a:xfrm>
        </p:spPr>
        <p:txBody>
          <a:bodyPr/>
          <a:lstStyle/>
          <a:p>
            <a:pPr algn="ctr">
              <a:lnSpc>
                <a:spcPts val="1800"/>
              </a:lnSpc>
            </a:pPr>
            <a:r>
              <a:rPr lang="en-US" altLang="ko-KR" b="1" dirty="0">
                <a:ea typeface="맑은 고딕" panose="020B0503020000020004" pitchFamily="50" charset="-127"/>
              </a:rPr>
              <a:t>WITHIN THE OFFICE</a:t>
            </a:r>
            <a:br>
              <a:rPr lang="en-US" altLang="ko-KR" dirty="0">
                <a:ea typeface="맑은 고딕" panose="020B0503020000020004" pitchFamily="50" charset="-127"/>
              </a:rPr>
            </a:br>
            <a:r>
              <a:rPr lang="en-US" altLang="ko-KR" sz="1400" dirty="0">
                <a:ea typeface="맑은 고딕" panose="020B0503020000020004" pitchFamily="50" charset="-127"/>
              </a:rPr>
              <a:t>Everyone was kind , supportive, and always willing to teach me Thanks for their </a:t>
            </a:r>
            <a:r>
              <a:rPr lang="en-US" altLang="ko-KR" sz="1400" dirty="0" err="1">
                <a:ea typeface="맑은 고딕" panose="020B0503020000020004" pitchFamily="50" charset="-127"/>
              </a:rPr>
              <a:t>guidence</a:t>
            </a:r>
            <a:endParaRPr lang="en-US" altLang="ko-KR" sz="1400" dirty="0">
              <a:ea typeface="맑은 고딕" panose="020B0503020000020004" pitchFamily="50" charset="-127"/>
            </a:endParaRPr>
          </a:p>
          <a:p>
            <a:pPr marL="0" indent="0" algn="ctr">
              <a:lnSpc>
                <a:spcPts val="1800"/>
              </a:lnSpc>
              <a:buNone/>
            </a:pPr>
            <a:endParaRPr lang="en-US" altLang="ko-KR" dirty="0">
              <a:ea typeface="맑은 고딕" panose="020B0503020000020004" pitchFamily="50" charset="-127"/>
            </a:endParaRPr>
          </a:p>
          <a:p>
            <a:pPr algn="ctr">
              <a:lnSpc>
                <a:spcPts val="1800"/>
              </a:lnSpc>
            </a:pPr>
            <a:r>
              <a:rPr lang="en-US" altLang="ko-KR" b="1" dirty="0">
                <a:ea typeface="맑은 고딕" panose="020B0503020000020004" pitchFamily="50" charset="-127"/>
              </a:rPr>
              <a:t>OUTSIDE THE OFFICE</a:t>
            </a:r>
          </a:p>
          <a:p>
            <a:pPr marL="0" indent="0" algn="ctr">
              <a:lnSpc>
                <a:spcPts val="1800"/>
              </a:lnSpc>
              <a:buNone/>
            </a:pPr>
            <a:r>
              <a:rPr lang="en-US" altLang="ko-KR" sz="1400" dirty="0">
                <a:ea typeface="맑은 고딕" panose="020B0503020000020004" pitchFamily="50" charset="-127"/>
              </a:rPr>
              <a:t>Enjoyed</a:t>
            </a:r>
            <a:r>
              <a:rPr lang="ko-KR" altLang="en-US" sz="1400" dirty="0"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ea typeface="맑은 고딕" panose="020B0503020000020004" pitchFamily="50" charset="-127"/>
              </a:rPr>
              <a:t>warm</a:t>
            </a:r>
            <a:r>
              <a:rPr lang="ko-KR" altLang="en-US" sz="1400" dirty="0"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ea typeface="맑은 고딕" panose="020B0503020000020004" pitchFamily="50" charset="-127"/>
              </a:rPr>
              <a:t>hospitality</a:t>
            </a:r>
            <a:r>
              <a:rPr lang="ko-KR" altLang="en-US" sz="1400" dirty="0"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ea typeface="맑은 고딕" panose="020B0503020000020004" pitchFamily="50" charset="-127"/>
              </a:rPr>
              <a:t>through</a:t>
            </a:r>
            <a:r>
              <a:rPr lang="ko-KR" altLang="en-US" sz="1400" dirty="0"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ea typeface="맑은 고딕" panose="020B0503020000020004" pitchFamily="50" charset="-127"/>
              </a:rPr>
              <a:t>coffee</a:t>
            </a:r>
            <a:r>
              <a:rPr lang="ko-KR" altLang="en-US" sz="1400" dirty="0"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ea typeface="맑은 고딕" panose="020B0503020000020004" pitchFamily="50" charset="-127"/>
              </a:rPr>
              <a:t>chats and shared meals a welcoming atmosphere </a:t>
            </a:r>
            <a:br>
              <a:rPr lang="en-US" altLang="ko-KR" sz="1400" dirty="0">
                <a:ea typeface="맑은 고딕" panose="020B0503020000020004" pitchFamily="50" charset="-127"/>
              </a:rPr>
            </a:br>
            <a:r>
              <a:rPr lang="en-US" altLang="ko-KR" sz="1400" dirty="0">
                <a:ea typeface="맑은 고딕" panose="020B0503020000020004" pitchFamily="50" charset="-127"/>
              </a:rPr>
              <a:t>beyond work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86F4B82-F27E-CD67-C54E-E6FEF35D2C15}"/>
              </a:ext>
            </a:extLst>
          </p:cNvPr>
          <p:cNvSpPr txBox="1"/>
          <p:nvPr/>
        </p:nvSpPr>
        <p:spPr>
          <a:xfrm>
            <a:off x="8116068" y="1136934"/>
            <a:ext cx="1000274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72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Great team</a:t>
            </a:r>
            <a:endParaRPr kumimoji="0" lang="ko-KR" altLang="en-US" sz="172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F135A-7B54-2EE8-0532-4CDA9935D8FA}"/>
              </a:ext>
            </a:extLst>
          </p:cNvPr>
          <p:cNvSpPr txBox="1"/>
          <p:nvPr/>
        </p:nvSpPr>
        <p:spPr>
          <a:xfrm>
            <a:off x="352895" y="1136934"/>
            <a:ext cx="1301638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AWS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SUMMIT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8337DC-6DAE-B9EF-46B5-960B976EC228}"/>
              </a:ext>
            </a:extLst>
          </p:cNvPr>
          <p:cNvSpPr txBox="1"/>
          <p:nvPr/>
        </p:nvSpPr>
        <p:spPr>
          <a:xfrm>
            <a:off x="4147406" y="1149859"/>
            <a:ext cx="1854675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VDC/D.C SITE VISIT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pic>
        <p:nvPicPr>
          <p:cNvPr id="37" name="그림 개체 틀 10">
            <a:extLst>
              <a:ext uri="{FF2B5EF4-FFF2-40B4-BE49-F238E27FC236}">
                <a16:creationId xmlns:a16="http://schemas.microsoft.com/office/drawing/2014/main" id="{9C877BAB-326A-29BB-8AC1-6C9B5A75B4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236" r="5236"/>
          <a:stretch>
            <a:fillRect/>
          </a:stretch>
        </p:blipFill>
        <p:spPr>
          <a:xfrm>
            <a:off x="4144819" y="1403225"/>
            <a:ext cx="3597561" cy="2246089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</p:pic>
      <p:sp>
        <p:nvSpPr>
          <p:cNvPr id="44" name="내용 개체 틀 5">
            <a:extLst>
              <a:ext uri="{FF2B5EF4-FFF2-40B4-BE49-F238E27FC236}">
                <a16:creationId xmlns:a16="http://schemas.microsoft.com/office/drawing/2014/main" id="{F514D513-A9C4-D242-03F5-C784B2136886}"/>
              </a:ext>
            </a:extLst>
          </p:cNvPr>
          <p:cNvSpPr txBox="1">
            <a:spLocks/>
          </p:cNvSpPr>
          <p:nvPr/>
        </p:nvSpPr>
        <p:spPr>
          <a:xfrm>
            <a:off x="4131408" y="3876023"/>
            <a:ext cx="3597561" cy="24327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800" marR="0" lvl="0" indent="-190800" algn="ctr" defTabSz="914400" rtl="0" eaLnBrk="1" fontAlgn="auto" latinLnBrk="1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VDC</a:t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Observing the vehicle release process at BMW VDC gave me a real sense of belonging in the automotive industry</a:t>
            </a:r>
            <a:b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  <a:p>
            <a:pPr marL="190800" marR="0" lvl="0" indent="-190800" algn="ctr" defTabSz="914400" rtl="0" eaLnBrk="1" fontAlgn="auto" latinLnBrk="1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D.C.</a:t>
            </a:r>
          </a:p>
          <a:p>
            <a:pPr marL="0" marR="0" lvl="0" indent="0" algn="ctr" defTabSz="914400" rtl="0" eaLnBrk="1" fontAlgn="auto" latinLnBrk="1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Visited the BMW Driving Center, experienced the</a:t>
            </a:r>
            <a:b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M-Taxi ride, and saw various BMW models </a:t>
            </a:r>
            <a:b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up close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0F209FE8-4F4D-4C30-72DD-2B7FCC9E80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6269A2B-1686-0666-3E9E-341B7CA4D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895" y="1413933"/>
            <a:ext cx="3185268" cy="2246089"/>
          </a:xfrm>
          <a:prstGeom prst="rect">
            <a:avLst/>
          </a:prstGeom>
        </p:spPr>
      </p:pic>
      <p:sp>
        <p:nvSpPr>
          <p:cNvPr id="10" name="내용 개체 틀 5">
            <a:extLst>
              <a:ext uri="{FF2B5EF4-FFF2-40B4-BE49-F238E27FC236}">
                <a16:creationId xmlns:a16="http://schemas.microsoft.com/office/drawing/2014/main" id="{060777FB-A8B5-6C6A-9BD0-4D8CE1E22A93}"/>
              </a:ext>
            </a:extLst>
          </p:cNvPr>
          <p:cNvSpPr txBox="1">
            <a:spLocks/>
          </p:cNvSpPr>
          <p:nvPr/>
        </p:nvSpPr>
        <p:spPr>
          <a:xfrm>
            <a:off x="146748" y="3876023"/>
            <a:ext cx="3597561" cy="24327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800" marR="0" lvl="0" indent="-190800" algn="ctr" defTabSz="914400" rtl="0" eaLnBrk="1" fontAlgn="auto" latinLnBrk="1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b="1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AWS Seminar</a:t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he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AWS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 err="1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emiar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inspired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me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o</a:t>
            </a:r>
            <a:r>
              <a:rPr lang="ko-KR" altLang="en-US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ee</a:t>
            </a:r>
            <a:b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he power and potential of </a:t>
            </a:r>
            <a:r>
              <a:rPr lang="en-US" altLang="ko-KR" sz="1400" dirty="0" err="1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cloud&amp;AI</a:t>
            </a: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technology</a:t>
            </a:r>
            <a:b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  <a:p>
            <a:pPr marL="190800" marR="0" lvl="0" indent="-190800" algn="ctr" defTabSz="914400" rtl="0" eaLnBrk="1" fontAlgn="auto" latinLnBrk="1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areer Direction</a:t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Decided to pursue a career in cloud and AI after hearing inspiring sessions. The Seminar and Summit played a key role in shaping </a:t>
            </a:r>
            <a:b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my future path</a:t>
            </a:r>
            <a:b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4" name="그림 개체 틀 13">
            <a:extLst>
              <a:ext uri="{FF2B5EF4-FFF2-40B4-BE49-F238E27FC236}">
                <a16:creationId xmlns:a16="http://schemas.microsoft.com/office/drawing/2014/main" id="{000A3D86-19A3-FC39-49C3-6F46D356C42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45" b="324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86340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D1E0CE-D4A7-E77E-0587-250259FAC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8" imgH="608" progId="TCLayout.ActiveDocument.1">
                  <p:embed/>
                </p:oleObj>
              </mc:Choice>
              <mc:Fallback>
                <p:oleObj name="think-cell Slide" r:id="rId4" imgW="608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1E0CE-D4A7-E77E-0587-250259FAC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제목 7">
            <a:extLst>
              <a:ext uri="{FF2B5EF4-FFF2-40B4-BE49-F238E27FC236}">
                <a16:creationId xmlns:a16="http://schemas.microsoft.com/office/drawing/2014/main" id="{B41C9EB8-BD03-8ED6-6F32-F79F5C0DA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5"/>
            <a:ext cx="11224684" cy="400109"/>
          </a:xfrm>
        </p:spPr>
        <p:txBody>
          <a:bodyPr vert="horz"/>
          <a:lstStyle/>
          <a:p>
            <a:r>
              <a:rPr lang="en-US" altLang="ko-KR" b="1" dirty="0">
                <a:solidFill>
                  <a:srgbClr val="002060"/>
                </a:solidFill>
                <a:latin typeface="+mn-lt"/>
                <a:ea typeface="맑은 고딕" panose="020B0503020000020004" pitchFamily="50" charset="-127"/>
              </a:rPr>
              <a:t>2025 1</a:t>
            </a:r>
            <a:r>
              <a:rPr lang="en-US" altLang="ko-KR" b="1" baseline="30000" dirty="0">
                <a:solidFill>
                  <a:srgbClr val="002060"/>
                </a:solidFill>
                <a:latin typeface="+mn-lt"/>
                <a:ea typeface="맑은 고딕" panose="020B0503020000020004" pitchFamily="50" charset="-127"/>
              </a:rPr>
              <a:t>st</a:t>
            </a:r>
            <a:r>
              <a:rPr lang="ko-KR" altLang="en-US" b="1" dirty="0">
                <a:solidFill>
                  <a:srgbClr val="002060"/>
                </a:solidFill>
                <a:latin typeface="+mn-lt"/>
                <a:ea typeface="맑은 고딕" panose="020B0503020000020004" pitchFamily="50" charset="-127"/>
              </a:rPr>
              <a:t> </a:t>
            </a:r>
            <a:r>
              <a:rPr lang="en-US" altLang="ko-KR" b="1" dirty="0">
                <a:solidFill>
                  <a:srgbClr val="002060"/>
                </a:solidFill>
                <a:latin typeface="+mn-lt"/>
                <a:ea typeface="맑은 고딕" panose="020B0503020000020004" pitchFamily="50" charset="-127"/>
              </a:rPr>
              <a:t>half internship Overview</a:t>
            </a:r>
            <a:endParaRPr lang="ko-KR" altLang="en-US" b="1" dirty="0">
              <a:solidFill>
                <a:srgbClr val="002060"/>
              </a:solidFill>
              <a:latin typeface="+mn-lt"/>
              <a:ea typeface="맑은 고딕" panose="020B0503020000020004" pitchFamily="50" charset="-127"/>
            </a:endParaRPr>
          </a:p>
        </p:txBody>
      </p:sp>
      <p:graphicFrame>
        <p:nvGraphicFramePr>
          <p:cNvPr id="9" name="표 9">
            <a:extLst>
              <a:ext uri="{FF2B5EF4-FFF2-40B4-BE49-F238E27FC236}">
                <a16:creationId xmlns:a16="http://schemas.microsoft.com/office/drawing/2014/main" id="{6CAAADDC-13C8-CE07-6CC9-D18CB372C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27839"/>
              </p:ext>
            </p:extLst>
          </p:nvPr>
        </p:nvGraphicFramePr>
        <p:xfrm>
          <a:off x="405057" y="747296"/>
          <a:ext cx="11476679" cy="57701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7135">
                  <a:extLst>
                    <a:ext uri="{9D8B030D-6E8A-4147-A177-3AD203B41FA5}">
                      <a16:colId xmlns:a16="http://schemas.microsoft.com/office/drawing/2014/main" val="4207133517"/>
                    </a:ext>
                  </a:extLst>
                </a:gridCol>
                <a:gridCol w="1698171">
                  <a:extLst>
                    <a:ext uri="{9D8B030D-6E8A-4147-A177-3AD203B41FA5}">
                      <a16:colId xmlns:a16="http://schemas.microsoft.com/office/drawing/2014/main" val="1053962938"/>
                    </a:ext>
                  </a:extLst>
                </a:gridCol>
                <a:gridCol w="1621677">
                  <a:extLst>
                    <a:ext uri="{9D8B030D-6E8A-4147-A177-3AD203B41FA5}">
                      <a16:colId xmlns:a16="http://schemas.microsoft.com/office/drawing/2014/main" val="2011535940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1827041982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123181278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841886150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4022318337"/>
                    </a:ext>
                  </a:extLst>
                </a:gridCol>
              </a:tblGrid>
              <a:tr h="761966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Schedule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Jan.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Feb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Mar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Apr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May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Jun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5600452"/>
                  </a:ext>
                </a:extLst>
              </a:tr>
              <a:tr h="1789415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Donghyun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en-US" altLang="ko-KR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483251"/>
                  </a:ext>
                </a:extLst>
              </a:tr>
              <a:tr h="1428207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Both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en-US" altLang="ko-KR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kern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592887"/>
                  </a:ext>
                </a:extLst>
              </a:tr>
              <a:tr h="1790514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Betty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en-US" altLang="ko-KR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37053"/>
                  </a:ext>
                </a:extLst>
              </a:tr>
            </a:tbl>
          </a:graphicData>
        </a:graphic>
      </p:graphicFrame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8FEA165C-195B-23FF-5406-A0218697E6BC}"/>
              </a:ext>
            </a:extLst>
          </p:cNvPr>
          <p:cNvSpPr/>
          <p:nvPr/>
        </p:nvSpPr>
        <p:spPr>
          <a:xfrm>
            <a:off x="1974177" y="5421783"/>
            <a:ext cx="4906383" cy="27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Auto-monitoring Development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화살표: 오각형 2">
            <a:extLst>
              <a:ext uri="{FF2B5EF4-FFF2-40B4-BE49-F238E27FC236}">
                <a16:creationId xmlns:a16="http://schemas.microsoft.com/office/drawing/2014/main" id="{5C9394DD-F5C3-B12E-C11C-5736CD1B75AE}"/>
              </a:ext>
            </a:extLst>
          </p:cNvPr>
          <p:cNvSpPr/>
          <p:nvPr/>
        </p:nvSpPr>
        <p:spPr>
          <a:xfrm>
            <a:off x="3648351" y="1580911"/>
            <a:ext cx="1584936" cy="36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AWS Proxy</a:t>
            </a:r>
            <a:b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</a:b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o Firewall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화살표: 오각형 3">
            <a:extLst>
              <a:ext uri="{FF2B5EF4-FFF2-40B4-BE49-F238E27FC236}">
                <a16:creationId xmlns:a16="http://schemas.microsoft.com/office/drawing/2014/main" id="{4C8FA29F-FFF6-F4D5-A261-9135E8C225CF}"/>
              </a:ext>
            </a:extLst>
          </p:cNvPr>
          <p:cNvSpPr/>
          <p:nvPr/>
        </p:nvSpPr>
        <p:spPr>
          <a:xfrm>
            <a:off x="10296802" y="3677598"/>
            <a:ext cx="1542592" cy="27876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eam building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화살표: 오각형 4">
            <a:extLst>
              <a:ext uri="{FF2B5EF4-FFF2-40B4-BE49-F238E27FC236}">
                <a16:creationId xmlns:a16="http://schemas.microsoft.com/office/drawing/2014/main" id="{6A86A80E-51DD-5F66-88B5-B6442948FF68}"/>
              </a:ext>
            </a:extLst>
          </p:cNvPr>
          <p:cNvSpPr/>
          <p:nvPr/>
        </p:nvSpPr>
        <p:spPr>
          <a:xfrm>
            <a:off x="1974177" y="3358846"/>
            <a:ext cx="986521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Infrastructure Daily Meeting &amp; Budget Meeting &amp; Team Meeting</a:t>
            </a:r>
          </a:p>
        </p:txBody>
      </p:sp>
      <p:sp>
        <p:nvSpPr>
          <p:cNvPr id="17" name="화살표: 오각형 16">
            <a:extLst>
              <a:ext uri="{FF2B5EF4-FFF2-40B4-BE49-F238E27FC236}">
                <a16:creationId xmlns:a16="http://schemas.microsoft.com/office/drawing/2014/main" id="{120B3C71-3C01-0670-021C-FC8036800EEB}"/>
              </a:ext>
            </a:extLst>
          </p:cNvPr>
          <p:cNvSpPr/>
          <p:nvPr/>
        </p:nvSpPr>
        <p:spPr>
          <a:xfrm>
            <a:off x="5300929" y="4017293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VDC Vis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화살표: 오각형 17">
            <a:extLst>
              <a:ext uri="{FF2B5EF4-FFF2-40B4-BE49-F238E27FC236}">
                <a16:creationId xmlns:a16="http://schemas.microsoft.com/office/drawing/2014/main" id="{16F0C9A2-52C3-4FB0-39F0-30CC2628348B}"/>
              </a:ext>
            </a:extLst>
          </p:cNvPr>
          <p:cNvSpPr/>
          <p:nvPr/>
        </p:nvSpPr>
        <p:spPr>
          <a:xfrm>
            <a:off x="8606744" y="5439339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eam Worksho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화살표: 오각형 5">
            <a:extLst>
              <a:ext uri="{FF2B5EF4-FFF2-40B4-BE49-F238E27FC236}">
                <a16:creationId xmlns:a16="http://schemas.microsoft.com/office/drawing/2014/main" id="{B564EF4B-385D-50C6-36C1-458121AB634D}"/>
              </a:ext>
            </a:extLst>
          </p:cNvPr>
          <p:cNvSpPr/>
          <p:nvPr/>
        </p:nvSpPr>
        <p:spPr>
          <a:xfrm>
            <a:off x="1974177" y="3683426"/>
            <a:ext cx="1597965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Onboard &amp; Handov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화살표: 오각형 10">
            <a:extLst>
              <a:ext uri="{FF2B5EF4-FFF2-40B4-BE49-F238E27FC236}">
                <a16:creationId xmlns:a16="http://schemas.microsoft.com/office/drawing/2014/main" id="{CBB5F4A4-DA91-E034-C116-2227CE9D9105}"/>
              </a:ext>
            </a:extLst>
          </p:cNvPr>
          <p:cNvSpPr/>
          <p:nvPr/>
        </p:nvSpPr>
        <p:spPr>
          <a:xfrm>
            <a:off x="5279289" y="3682202"/>
            <a:ext cx="4895299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loud Study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화살표: 오각형 13">
            <a:extLst>
              <a:ext uri="{FF2B5EF4-FFF2-40B4-BE49-F238E27FC236}">
                <a16:creationId xmlns:a16="http://schemas.microsoft.com/office/drawing/2014/main" id="{218A401A-20B0-1D1D-BF50-1476434C0C01}"/>
              </a:ext>
            </a:extLst>
          </p:cNvPr>
          <p:cNvSpPr/>
          <p:nvPr/>
        </p:nvSpPr>
        <p:spPr>
          <a:xfrm>
            <a:off x="1974177" y="4777245"/>
            <a:ext cx="9865216" cy="27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PR &amp; PO</a:t>
            </a:r>
          </a:p>
        </p:txBody>
      </p:sp>
      <p:sp>
        <p:nvSpPr>
          <p:cNvPr id="15" name="화살표: 오각형 14">
            <a:extLst>
              <a:ext uri="{FF2B5EF4-FFF2-40B4-BE49-F238E27FC236}">
                <a16:creationId xmlns:a16="http://schemas.microsoft.com/office/drawing/2014/main" id="{C4A1CC8C-4253-1BBD-7DC3-5198BAF8F3F4}"/>
              </a:ext>
            </a:extLst>
          </p:cNvPr>
          <p:cNvSpPr/>
          <p:nvPr/>
        </p:nvSpPr>
        <p:spPr>
          <a:xfrm>
            <a:off x="1979120" y="2965127"/>
            <a:ext cx="9860273" cy="27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GR</a:t>
            </a:r>
          </a:p>
        </p:txBody>
      </p:sp>
      <p:sp>
        <p:nvSpPr>
          <p:cNvPr id="21" name="화살표: 오각형 20">
            <a:extLst>
              <a:ext uri="{FF2B5EF4-FFF2-40B4-BE49-F238E27FC236}">
                <a16:creationId xmlns:a16="http://schemas.microsoft.com/office/drawing/2014/main" id="{9A48A50D-9B2F-E424-8280-609AC78BEC46}"/>
              </a:ext>
            </a:extLst>
          </p:cNvPr>
          <p:cNvSpPr/>
          <p:nvPr/>
        </p:nvSpPr>
        <p:spPr>
          <a:xfrm>
            <a:off x="3648350" y="3686779"/>
            <a:ext cx="1597965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C/F/P Vis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화살표: 오각형 21">
            <a:extLst>
              <a:ext uri="{FF2B5EF4-FFF2-40B4-BE49-F238E27FC236}">
                <a16:creationId xmlns:a16="http://schemas.microsoft.com/office/drawing/2014/main" id="{97151EAD-680D-4FF4-E8E9-1394F301BEF1}"/>
              </a:ext>
            </a:extLst>
          </p:cNvPr>
          <p:cNvSpPr/>
          <p:nvPr/>
        </p:nvSpPr>
        <p:spPr>
          <a:xfrm>
            <a:off x="3648350" y="4025182"/>
            <a:ext cx="1597965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AP RISE UA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화살표: 오각형 22">
            <a:extLst>
              <a:ext uri="{FF2B5EF4-FFF2-40B4-BE49-F238E27FC236}">
                <a16:creationId xmlns:a16="http://schemas.microsoft.com/office/drawing/2014/main" id="{B150FB28-226A-E4FE-A04A-9EAAD4117A93}"/>
              </a:ext>
            </a:extLst>
          </p:cNvPr>
          <p:cNvSpPr/>
          <p:nvPr/>
        </p:nvSpPr>
        <p:spPr>
          <a:xfrm>
            <a:off x="5321849" y="1988163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Datadog C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화살표: 오각형 23">
            <a:extLst>
              <a:ext uri="{FF2B5EF4-FFF2-40B4-BE49-F238E27FC236}">
                <a16:creationId xmlns:a16="http://schemas.microsoft.com/office/drawing/2014/main" id="{506CEAEA-5D52-9D4E-A25B-B9D1A9111A06}"/>
              </a:ext>
            </a:extLst>
          </p:cNvPr>
          <p:cNvSpPr/>
          <p:nvPr/>
        </p:nvSpPr>
        <p:spPr>
          <a:xfrm>
            <a:off x="8614652" y="4022650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DC Vis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화살표: 오각형 24">
            <a:extLst>
              <a:ext uri="{FF2B5EF4-FFF2-40B4-BE49-F238E27FC236}">
                <a16:creationId xmlns:a16="http://schemas.microsoft.com/office/drawing/2014/main" id="{E317EB40-2EF5-4A9B-EEC6-E3EC7A38C7A4}"/>
              </a:ext>
            </a:extLst>
          </p:cNvPr>
          <p:cNvSpPr/>
          <p:nvPr/>
        </p:nvSpPr>
        <p:spPr>
          <a:xfrm>
            <a:off x="8598198" y="5763189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RDC Vis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화살표: 오각형 25">
            <a:extLst>
              <a:ext uri="{FF2B5EF4-FFF2-40B4-BE49-F238E27FC236}">
                <a16:creationId xmlns:a16="http://schemas.microsoft.com/office/drawing/2014/main" id="{1C671EDF-76B4-1784-DB13-93DB8BF29683}"/>
              </a:ext>
            </a:extLst>
          </p:cNvPr>
          <p:cNvSpPr/>
          <p:nvPr/>
        </p:nvSpPr>
        <p:spPr>
          <a:xfrm>
            <a:off x="10262616" y="5433946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NSC Facing Worksho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7" name="화살표: 오각형 26">
            <a:extLst>
              <a:ext uri="{FF2B5EF4-FFF2-40B4-BE49-F238E27FC236}">
                <a16:creationId xmlns:a16="http://schemas.microsoft.com/office/drawing/2014/main" id="{C9789AF7-7BF2-6356-A4BB-88BD791693A6}"/>
              </a:ext>
            </a:extLst>
          </p:cNvPr>
          <p:cNvSpPr/>
          <p:nvPr/>
        </p:nvSpPr>
        <p:spPr>
          <a:xfrm>
            <a:off x="3648350" y="5109802"/>
            <a:ext cx="3249741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2025 1Q Newslett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화살표: 오각형 27">
            <a:extLst>
              <a:ext uri="{FF2B5EF4-FFF2-40B4-BE49-F238E27FC236}">
                <a16:creationId xmlns:a16="http://schemas.microsoft.com/office/drawing/2014/main" id="{5CDAF665-BB75-E693-3A00-24157360DAEC}"/>
              </a:ext>
            </a:extLst>
          </p:cNvPr>
          <p:cNvSpPr/>
          <p:nvPr/>
        </p:nvSpPr>
        <p:spPr>
          <a:xfrm>
            <a:off x="8589652" y="5118020"/>
            <a:ext cx="3249741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2025 2Q Newslett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9" name="화살표: 오각형 28">
            <a:extLst>
              <a:ext uri="{FF2B5EF4-FFF2-40B4-BE49-F238E27FC236}">
                <a16:creationId xmlns:a16="http://schemas.microsoft.com/office/drawing/2014/main" id="{4C870A48-1EC5-8EC6-BDA4-50C4651D28BA}"/>
              </a:ext>
            </a:extLst>
          </p:cNvPr>
          <p:cNvSpPr/>
          <p:nvPr/>
        </p:nvSpPr>
        <p:spPr>
          <a:xfrm>
            <a:off x="6963365" y="1986349"/>
            <a:ext cx="1558964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GAIA Session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화살표: 오각형 29">
            <a:extLst>
              <a:ext uri="{FF2B5EF4-FFF2-40B4-BE49-F238E27FC236}">
                <a16:creationId xmlns:a16="http://schemas.microsoft.com/office/drawing/2014/main" id="{F1ACD677-2C9A-6222-0AEB-5D41CE2D1B2E}"/>
              </a:ext>
            </a:extLst>
          </p:cNvPr>
          <p:cNvSpPr/>
          <p:nvPr/>
        </p:nvSpPr>
        <p:spPr>
          <a:xfrm>
            <a:off x="6975717" y="1579369"/>
            <a:ext cx="1584936" cy="382672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GAIA Champion</a:t>
            </a: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onference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화살표: 오각형 30">
            <a:extLst>
              <a:ext uri="{FF2B5EF4-FFF2-40B4-BE49-F238E27FC236}">
                <a16:creationId xmlns:a16="http://schemas.microsoft.com/office/drawing/2014/main" id="{A1769948-D9F6-1F8F-8BFD-5C416F5A4007}"/>
              </a:ext>
            </a:extLst>
          </p:cNvPr>
          <p:cNvSpPr/>
          <p:nvPr/>
        </p:nvSpPr>
        <p:spPr>
          <a:xfrm>
            <a:off x="8629586" y="1606544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GAIA Webina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화살표: 오각형 31">
            <a:extLst>
              <a:ext uri="{FF2B5EF4-FFF2-40B4-BE49-F238E27FC236}">
                <a16:creationId xmlns:a16="http://schemas.microsoft.com/office/drawing/2014/main" id="{744567AD-580C-DC30-9FE1-BB495EBB0962}"/>
              </a:ext>
            </a:extLst>
          </p:cNvPr>
          <p:cNvSpPr/>
          <p:nvPr/>
        </p:nvSpPr>
        <p:spPr>
          <a:xfrm>
            <a:off x="8614652" y="4346006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AWS Summ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" name="화살표: 오각형 32">
            <a:extLst>
              <a:ext uri="{FF2B5EF4-FFF2-40B4-BE49-F238E27FC236}">
                <a16:creationId xmlns:a16="http://schemas.microsoft.com/office/drawing/2014/main" id="{CF92978C-3767-706D-EED2-378D49AFC40F}"/>
              </a:ext>
            </a:extLst>
          </p:cNvPr>
          <p:cNvSpPr/>
          <p:nvPr/>
        </p:nvSpPr>
        <p:spPr>
          <a:xfrm>
            <a:off x="5273220" y="6175897"/>
            <a:ext cx="6600445" cy="27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GCS (GETCHA Scraper)</a:t>
            </a: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 Development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4" name="화살표: 오각형 33">
            <a:extLst>
              <a:ext uri="{FF2B5EF4-FFF2-40B4-BE49-F238E27FC236}">
                <a16:creationId xmlns:a16="http://schemas.microsoft.com/office/drawing/2014/main" id="{50D85690-E465-98DA-ACFD-341BCC079E7B}"/>
              </a:ext>
            </a:extLst>
          </p:cNvPr>
          <p:cNvSpPr/>
          <p:nvPr/>
        </p:nvSpPr>
        <p:spPr>
          <a:xfrm>
            <a:off x="3649693" y="5734185"/>
            <a:ext cx="1583594" cy="4464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IDS Dealer </a:t>
            </a:r>
            <a:b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Manual Creation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화살표: 오각형 34">
            <a:extLst>
              <a:ext uri="{FF2B5EF4-FFF2-40B4-BE49-F238E27FC236}">
                <a16:creationId xmlns:a16="http://schemas.microsoft.com/office/drawing/2014/main" id="{60491FB1-3920-F804-08AB-4607A5654926}"/>
              </a:ext>
            </a:extLst>
          </p:cNvPr>
          <p:cNvSpPr/>
          <p:nvPr/>
        </p:nvSpPr>
        <p:spPr>
          <a:xfrm>
            <a:off x="5281291" y="5768369"/>
            <a:ext cx="1599269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MyDMS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 Dealer CCB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화살표: 오각형 35">
            <a:extLst>
              <a:ext uri="{FF2B5EF4-FFF2-40B4-BE49-F238E27FC236}">
                <a16:creationId xmlns:a16="http://schemas.microsoft.com/office/drawing/2014/main" id="{9E08C40D-F56A-B86A-EB11-62C15256CDA5}"/>
              </a:ext>
            </a:extLst>
          </p:cNvPr>
          <p:cNvSpPr/>
          <p:nvPr/>
        </p:nvSpPr>
        <p:spPr>
          <a:xfrm>
            <a:off x="6957031" y="5511430"/>
            <a:ext cx="1599269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IDS Rollout Suppor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7" name="화살표: 오각형 36">
            <a:extLst>
              <a:ext uri="{FF2B5EF4-FFF2-40B4-BE49-F238E27FC236}">
                <a16:creationId xmlns:a16="http://schemas.microsoft.com/office/drawing/2014/main" id="{1065A026-70F7-B7B6-E606-EB63A358F1F0}"/>
              </a:ext>
            </a:extLst>
          </p:cNvPr>
          <p:cNvSpPr/>
          <p:nvPr/>
        </p:nvSpPr>
        <p:spPr>
          <a:xfrm>
            <a:off x="6956199" y="5102581"/>
            <a:ext cx="1599269" cy="36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DH Data </a:t>
            </a:r>
            <a:b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Manul Input Suppor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화살표: 오각형 37">
            <a:extLst>
              <a:ext uri="{FF2B5EF4-FFF2-40B4-BE49-F238E27FC236}">
                <a16:creationId xmlns:a16="http://schemas.microsoft.com/office/drawing/2014/main" id="{5B20A4E5-4DB7-5E7E-A2E1-C652CA42769F}"/>
              </a:ext>
            </a:extLst>
          </p:cNvPr>
          <p:cNvSpPr/>
          <p:nvPr/>
        </p:nvSpPr>
        <p:spPr>
          <a:xfrm>
            <a:off x="6937393" y="5866688"/>
            <a:ext cx="1598400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WOT Preparation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9" name="화살표: 오각형 38">
            <a:extLst>
              <a:ext uri="{FF2B5EF4-FFF2-40B4-BE49-F238E27FC236}">
                <a16:creationId xmlns:a16="http://schemas.microsoft.com/office/drawing/2014/main" id="{81030E11-CFB4-308F-79B4-208F421626D2}"/>
              </a:ext>
            </a:extLst>
          </p:cNvPr>
          <p:cNvSpPr/>
          <p:nvPr/>
        </p:nvSpPr>
        <p:spPr>
          <a:xfrm>
            <a:off x="6948572" y="2321090"/>
            <a:ext cx="4838372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AMIN (Automated Monthly Invoice Notifications) Developmen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화살표: 오각형 39">
            <a:extLst>
              <a:ext uri="{FF2B5EF4-FFF2-40B4-BE49-F238E27FC236}">
                <a16:creationId xmlns:a16="http://schemas.microsoft.com/office/drawing/2014/main" id="{3CDFBC5D-A1D0-3414-80C8-34162646D4F4}"/>
              </a:ext>
            </a:extLst>
          </p:cNvPr>
          <p:cNvSpPr/>
          <p:nvPr/>
        </p:nvSpPr>
        <p:spPr>
          <a:xfrm>
            <a:off x="1974177" y="2647088"/>
            <a:ext cx="824034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PSD (Patch Status Dashboard) Developmen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화살표: 오각형 40">
            <a:extLst>
              <a:ext uri="{FF2B5EF4-FFF2-40B4-BE49-F238E27FC236}">
                <a16:creationId xmlns:a16="http://schemas.microsoft.com/office/drawing/2014/main" id="{B60BD1BA-EC45-1A85-2A58-4DBC3BD18971}"/>
              </a:ext>
            </a:extLst>
          </p:cNvPr>
          <p:cNvSpPr/>
          <p:nvPr/>
        </p:nvSpPr>
        <p:spPr>
          <a:xfrm>
            <a:off x="5321849" y="1577173"/>
            <a:ext cx="1584936" cy="36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Role-playing Preparation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2" name="화살표: 오각형 41">
            <a:extLst>
              <a:ext uri="{FF2B5EF4-FFF2-40B4-BE49-F238E27FC236}">
                <a16:creationId xmlns:a16="http://schemas.microsoft.com/office/drawing/2014/main" id="{CE111ABA-8657-0B2A-E0E8-A462CBAF362D}"/>
              </a:ext>
            </a:extLst>
          </p:cNvPr>
          <p:cNvSpPr/>
          <p:nvPr/>
        </p:nvSpPr>
        <p:spPr>
          <a:xfrm>
            <a:off x="1974176" y="2315572"/>
            <a:ext cx="1597965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Learn to G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3" name="화살표: 오각형 42">
            <a:extLst>
              <a:ext uri="{FF2B5EF4-FFF2-40B4-BE49-F238E27FC236}">
                <a16:creationId xmlns:a16="http://schemas.microsoft.com/office/drawing/2014/main" id="{E0A90CB3-B571-113E-763E-6BF692FDA381}"/>
              </a:ext>
            </a:extLst>
          </p:cNvPr>
          <p:cNvSpPr/>
          <p:nvPr/>
        </p:nvSpPr>
        <p:spPr>
          <a:xfrm>
            <a:off x="1974176" y="5089647"/>
            <a:ext cx="1597965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Learn to PR &amp; PO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4074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42A40A13-66F6-7281-49C4-6D43D910A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>
                <a:latin typeface="+mn-lt"/>
                <a:ea typeface="맑은 고딕" panose="020B0503020000020004" pitchFamily="50" charset="-127"/>
              </a:rPr>
              <a:t>Achievements, Experiences, and Goal Attainment</a:t>
            </a:r>
            <a:endParaRPr lang="ko-KR" altLang="en-US" sz="3200" dirty="0">
              <a:latin typeface="+mn-lt"/>
              <a:ea typeface="맑은 고딕" panose="020B0503020000020004" pitchFamily="50" charset="-127"/>
            </a:endParaRP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6ABECE-7F2F-36A8-401F-1C019BA716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95816" y="1275242"/>
            <a:ext cx="7921016" cy="1434094"/>
          </a:xfrm>
        </p:spPr>
        <p:txBody>
          <a:bodyPr anchor="ctr"/>
          <a:lstStyle/>
          <a:p>
            <a:pPr marL="0" indent="0">
              <a:buNone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BMW Group Condensed" panose="020B0606020202020204" pitchFamily="34" charset="0"/>
                <a:ea typeface="맑은 고딕" panose="020B0503020000020004" pitchFamily="50" charset="-127"/>
              </a:rPr>
              <a:t>GAINING WORK EXPERIENCE</a:t>
            </a:r>
          </a:p>
          <a:p>
            <a:r>
              <a:rPr lang="en-US" altLang="ko-KR" sz="1800" dirty="0">
                <a:effectLst/>
              </a:rPr>
              <a:t>Gained hands-on experience in budgeting and financial processes using SAP systems</a:t>
            </a:r>
            <a:endParaRPr lang="ko-KR" altLang="ko-KR" dirty="0">
              <a:effectLst/>
            </a:endParaRPr>
          </a:p>
          <a:p>
            <a:r>
              <a:rPr lang="en-US" altLang="ko-KR" sz="1800" dirty="0">
                <a:effectLst/>
              </a:rPr>
              <a:t>Supported cloud infrastructure operations and enhanced system management skills</a:t>
            </a:r>
            <a:endParaRPr lang="ko-KR" altLang="ko-KR" dirty="0">
              <a:effectLst/>
            </a:endParaRPr>
          </a:p>
          <a:p>
            <a:r>
              <a:rPr lang="en-US" altLang="ko-KR" sz="1800" dirty="0">
                <a:effectLst/>
              </a:rPr>
              <a:t>Developed automation systems using AI technologies</a:t>
            </a:r>
            <a:endParaRPr lang="en-US" altLang="ko-KR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  <a:p>
            <a:endParaRPr lang="en-US" altLang="ko-KR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25" name="내용 개체 틀 3">
            <a:extLst>
              <a:ext uri="{FF2B5EF4-FFF2-40B4-BE49-F238E27FC236}">
                <a16:creationId xmlns:a16="http://schemas.microsoft.com/office/drawing/2014/main" id="{E73C87B3-B706-3606-D1ED-4865B119F4BC}"/>
              </a:ext>
            </a:extLst>
          </p:cNvPr>
          <p:cNvSpPr txBox="1">
            <a:spLocks/>
          </p:cNvSpPr>
          <p:nvPr/>
        </p:nvSpPr>
        <p:spPr>
          <a:xfrm>
            <a:off x="3395815" y="2932142"/>
            <a:ext cx="8174513" cy="14340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UNDERSTANDING THE INDUSTRY</a:t>
            </a: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Experienced how the automotive industry operates from production to delivery</a:t>
            </a: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Observed the role of IT in supporting manufacturing, logistics, and business processes</a:t>
            </a:r>
            <a:endParaRPr lang="ko-KR" altLang="ko-KR" dirty="0">
              <a:effectLst/>
            </a:endParaRP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Realized the importance of digital transformation within automotive companies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내용 개체 틀 3">
            <a:extLst>
              <a:ext uri="{FF2B5EF4-FFF2-40B4-BE49-F238E27FC236}">
                <a16:creationId xmlns:a16="http://schemas.microsoft.com/office/drawing/2014/main" id="{F6FE755D-D8B0-C8C6-4B23-B145359D6E20}"/>
              </a:ext>
            </a:extLst>
          </p:cNvPr>
          <p:cNvSpPr txBox="1">
            <a:spLocks/>
          </p:cNvSpPr>
          <p:nvPr/>
        </p:nvSpPr>
        <p:spPr>
          <a:xfrm>
            <a:off x="3395816" y="4617618"/>
            <a:ext cx="7297252" cy="14340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맑은 고딕" panose="020B0503020000020004" pitchFamily="50" charset="-127"/>
                <a:cs typeface="+mn-cs"/>
              </a:rPr>
              <a:t>PERSONAL GROWTH</a:t>
            </a: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Enhanced technical development skills through real-world projects and systems</a:t>
            </a:r>
            <a:endParaRPr lang="ko-KR" altLang="ko-KR" dirty="0">
              <a:effectLst/>
            </a:endParaRP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Improved communication and collaboration by working with diverse teams</a:t>
            </a:r>
            <a:endParaRPr lang="ko-KR" altLang="ko-KR" dirty="0">
              <a:effectLst/>
            </a:endParaRPr>
          </a:p>
          <a:p>
            <a:pPr latinLnBrk="0">
              <a:lnSpc>
                <a:spcPts val="1800"/>
              </a:lnSpc>
              <a:buClr>
                <a:srgbClr val="035970"/>
              </a:buClr>
              <a:defRPr/>
            </a:pPr>
            <a:r>
              <a:rPr lang="en-US" altLang="ko-KR" sz="1800" dirty="0">
                <a:effectLst/>
              </a:rPr>
              <a:t>Learned how to adapt professionally in a corporate environment</a:t>
            </a:r>
            <a:endParaRPr lang="en-US" altLang="ko-KR" dirty="0">
              <a:solidFill>
                <a:srgbClr val="000000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5ABB6DA-F6D9-023E-CEA9-71A793EB1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770" y="2868757"/>
            <a:ext cx="1417719" cy="14177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74B457F-6438-71E5-96E7-D19D4A420D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295" y="1278780"/>
            <a:ext cx="1417719" cy="14177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6BBF16CA-7CAC-33AD-3D94-6D4FEF864B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567" y="4373403"/>
            <a:ext cx="1789175" cy="178917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76215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5">
            <a:extLst>
              <a:ext uri="{FF2B5EF4-FFF2-40B4-BE49-F238E27FC236}">
                <a16:creationId xmlns:a16="http://schemas.microsoft.com/office/drawing/2014/main" id="{19416FDC-702F-1E26-955F-03AEDD77D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>
                <a:latin typeface="+mn-lt"/>
                <a:ea typeface="맑은 고딕" panose="020B0503020000020004" pitchFamily="50" charset="-127"/>
              </a:rPr>
              <a:t>MY Future Plans</a:t>
            </a:r>
            <a:endParaRPr lang="ko-KR" altLang="en-US" sz="3200" dirty="0">
              <a:latin typeface="+mn-lt"/>
              <a:ea typeface="맑은 고딕" panose="020B0503020000020004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B05529-2988-D492-49C2-C3964C0CA6AC}"/>
              </a:ext>
            </a:extLst>
          </p:cNvPr>
          <p:cNvSpPr txBox="1"/>
          <p:nvPr/>
        </p:nvSpPr>
        <p:spPr>
          <a:xfrm>
            <a:off x="494135" y="1136934"/>
            <a:ext cx="3798739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GO BACK TO SCHOOL &amp; GRADU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AF8544-D61E-05DD-252F-F0C49E3E6225}"/>
              </a:ext>
            </a:extLst>
          </p:cNvPr>
          <p:cNvSpPr txBox="1"/>
          <p:nvPr/>
        </p:nvSpPr>
        <p:spPr>
          <a:xfrm>
            <a:off x="4660893" y="1130817"/>
            <a:ext cx="1728037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b="1" dirty="0">
                <a:solidFill>
                  <a:srgbClr val="000000"/>
                </a:solidFill>
                <a:latin typeface="BMWGroupTN Condensed"/>
              </a:rPr>
              <a:t>Master’s</a:t>
            </a:r>
            <a:r>
              <a:rPr lang="ko-KR" altLang="en-US" b="1" dirty="0">
                <a:solidFill>
                  <a:srgbClr val="000000"/>
                </a:solidFill>
                <a:latin typeface="BMWGroupTN Condensed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BMWGroupTN Condensed"/>
              </a:rPr>
              <a:t>Program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E2C370-0148-ACEB-6AE0-4597C1676219}"/>
              </a:ext>
            </a:extLst>
          </p:cNvPr>
          <p:cNvSpPr txBox="1"/>
          <p:nvPr/>
        </p:nvSpPr>
        <p:spPr>
          <a:xfrm>
            <a:off x="8172463" y="1130817"/>
            <a:ext cx="2701060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KEEP PURSUING MY DREAM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pic>
        <p:nvPicPr>
          <p:cNvPr id="3074" name="Picture 2" descr="한국외국어대학교/서울캠퍼스 (r271 판) - 나무위키">
            <a:extLst>
              <a:ext uri="{FF2B5EF4-FFF2-40B4-BE49-F238E27FC236}">
                <a16:creationId xmlns:a16="http://schemas.microsoft.com/office/drawing/2014/main" id="{7301DACB-2B98-9902-115E-FF2E83F05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47" y="1665073"/>
            <a:ext cx="3486349" cy="3712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I의 안전한 사용: 윤리적 원칙과 거버넌스 이해 | EXELIENT(엑셀리언트)">
            <a:extLst>
              <a:ext uri="{FF2B5EF4-FFF2-40B4-BE49-F238E27FC236}">
                <a16:creationId xmlns:a16="http://schemas.microsoft.com/office/drawing/2014/main" id="{D5CD6FE8-0EE6-C3E9-4660-98FB9218F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0" y="1665073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T용어 해설_ 클라우드 컴퓨팅에서의 클라우드(cloud)라는 IT 업계의 은어(jargon)의 어원 - 인터넷!!! : 네이버 블로그">
            <a:extLst>
              <a:ext uri="{FF2B5EF4-FFF2-40B4-BE49-F238E27FC236}">
                <a16:creationId xmlns:a16="http://schemas.microsoft.com/office/drawing/2014/main" id="{478BCD7E-2699-2F5F-0C91-AD8A8C587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550" y="3771162"/>
            <a:ext cx="2628900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2024년을 준비하는 신입 개발자 필수 역량 7가지!">
            <a:extLst>
              <a:ext uri="{FF2B5EF4-FFF2-40B4-BE49-F238E27FC236}">
                <a16:creationId xmlns:a16="http://schemas.microsoft.com/office/drawing/2014/main" id="{0E71F1EE-B21F-6E41-C643-62547DB29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63" y="1634979"/>
            <a:ext cx="2628900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건강정보 이해력 높여 모두가 건강하고 행복한 대한민국! - 헬스컨슈머">
            <a:extLst>
              <a:ext uri="{FF2B5EF4-FFF2-40B4-BE49-F238E27FC236}">
                <a16:creationId xmlns:a16="http://schemas.microsoft.com/office/drawing/2014/main" id="{D502C429-EC17-338F-E881-9E19AD3F58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63" y="3863409"/>
            <a:ext cx="2809875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05D8D6E-B4E5-387F-D93B-D81FD99133A1}"/>
              </a:ext>
            </a:extLst>
          </p:cNvPr>
          <p:cNvSpPr txBox="1"/>
          <p:nvPr/>
        </p:nvSpPr>
        <p:spPr>
          <a:xfrm>
            <a:off x="4667250" y="3521478"/>
            <a:ext cx="1461939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Cloud Engineer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FFED44-9390-2930-FC3C-D0D87DC2F72C}"/>
              </a:ext>
            </a:extLst>
          </p:cNvPr>
          <p:cNvSpPr txBox="1"/>
          <p:nvPr/>
        </p:nvSpPr>
        <p:spPr>
          <a:xfrm>
            <a:off x="8172463" y="3540330"/>
            <a:ext cx="666849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Health </a:t>
            </a:r>
          </a:p>
        </p:txBody>
      </p:sp>
    </p:spTree>
    <p:extLst>
      <p:ext uri="{BB962C8B-B14F-4D97-AF65-F5344CB8AC3E}">
        <p14:creationId xmlns:p14="http://schemas.microsoft.com/office/powerpoint/2010/main" val="19374732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B0695461-4744-1428-DC4D-273893FEE50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02843" y="1413933"/>
            <a:ext cx="5397501" cy="4894792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altLang="ko-KR" sz="2000" b="0" i="0" dirty="0">
                <a:solidFill>
                  <a:srgbClr val="353A41"/>
                </a:solidFill>
                <a:effectLst/>
                <a:latin typeface="BMWGroupTN Condensed Pro"/>
              </a:rPr>
              <a:t>It was a valuable six months, more enriching than any experience and more meaningful than any time.</a:t>
            </a:r>
            <a:br>
              <a:rPr lang="en-US" altLang="ko-KR" sz="2000" b="1" spc="-150" dirty="0">
                <a:ea typeface="맑은 고딕" panose="020B0503020000020004" pitchFamily="50" charset="-127"/>
              </a:rPr>
            </a:br>
            <a:endParaRPr lang="en-US" altLang="ko-KR" sz="2000" b="1" spc="-150" dirty="0">
              <a:ea typeface="맑은 고딕" panose="020B0503020000020004" pitchFamily="50" charset="-127"/>
            </a:endParaRPr>
          </a:p>
          <a:p>
            <a:pPr marL="0" indent="0" algn="ctr">
              <a:buNone/>
            </a:pPr>
            <a:r>
              <a:rPr lang="en-US" altLang="ko-KR" sz="3600" b="1" spc="-150" dirty="0">
                <a:solidFill>
                  <a:schemeClr val="tx2"/>
                </a:solidFill>
                <a:ea typeface="맑은 고딕" panose="020B0503020000020004" pitchFamily="50" charset="-127"/>
              </a:rPr>
              <a:t>I will strive until the day</a:t>
            </a:r>
            <a:br>
              <a:rPr lang="en-US" altLang="ko-KR" sz="3600" b="1" spc="-150" dirty="0">
                <a:solidFill>
                  <a:schemeClr val="tx2"/>
                </a:solidFill>
                <a:ea typeface="맑은 고딕" panose="020B0503020000020004" pitchFamily="50" charset="-127"/>
              </a:rPr>
            </a:br>
            <a:r>
              <a:rPr lang="en-US" altLang="ko-KR" sz="3600" b="1" spc="-150" dirty="0">
                <a:solidFill>
                  <a:schemeClr val="tx2"/>
                </a:solidFill>
                <a:ea typeface="맑은 고딕" panose="020B0503020000020004" pitchFamily="50" charset="-127"/>
              </a:rPr>
              <a:t>I become a BMW owner!</a:t>
            </a:r>
            <a:endParaRPr lang="ko-KR" altLang="en-US" sz="3600" b="1" spc="-150" dirty="0">
              <a:solidFill>
                <a:schemeClr val="tx2"/>
              </a:solidFill>
              <a:ea typeface="맑은 고딕" panose="020B0503020000020004" pitchFamily="50" charset="-127"/>
            </a:endParaRP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4E6FF14C-8327-4A3A-769A-41E8A2CEC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Gratitude and reflection as I say good bye</a:t>
            </a:r>
            <a:endParaRPr lang="ko-KR" altLang="en-US" sz="3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EC7ABD2-F699-D9BB-DAD4-842FA02C9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3881" y="1081970"/>
            <a:ext cx="3811449" cy="508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9036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5">
            <a:extLst>
              <a:ext uri="{FF2B5EF4-FFF2-40B4-BE49-F238E27FC236}">
                <a16:creationId xmlns:a16="http://schemas.microsoft.com/office/drawing/2014/main" id="{9C6399E7-387C-609C-2111-A59899D1DB48}"/>
              </a:ext>
            </a:extLst>
          </p:cNvPr>
          <p:cNvSpPr txBox="1">
            <a:spLocks/>
          </p:cNvSpPr>
          <p:nvPr/>
        </p:nvSpPr>
        <p:spPr>
          <a:xfrm>
            <a:off x="306051" y="35720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defTabSz="1371600" latin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900" b="1" cap="all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46"/>
            <a:r>
              <a:rPr lang="en-US" altLang="ko-KR" sz="2600" dirty="0">
                <a:latin typeface="BMWGroupTN Condensed"/>
              </a:rPr>
              <a:t>2025 1h Interns wrap-up</a:t>
            </a:r>
            <a:endParaRPr lang="ko-KR" altLang="en-US" sz="2600" dirty="0">
              <a:latin typeface="BMWGroupTN Condensed"/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296DF148-2DC7-0CE8-0334-F875C1EFA252}"/>
              </a:ext>
            </a:extLst>
          </p:cNvPr>
          <p:cNvSpPr/>
          <p:nvPr/>
        </p:nvSpPr>
        <p:spPr>
          <a:xfrm>
            <a:off x="780851" y="2875013"/>
            <a:ext cx="5062884" cy="2517667"/>
          </a:xfrm>
          <a:prstGeom prst="roundRect">
            <a:avLst/>
          </a:prstGeom>
          <a:solidFill>
            <a:schemeClr val="accent6">
              <a:lumMod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09630" latinLnBrk="0"/>
            <a:endParaRPr lang="ko-KR" altLang="en-US" sz="12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35858442-7938-66D6-E965-F6EDB1988139}"/>
              </a:ext>
            </a:extLst>
          </p:cNvPr>
          <p:cNvSpPr/>
          <p:nvPr/>
        </p:nvSpPr>
        <p:spPr>
          <a:xfrm>
            <a:off x="1007091" y="3064526"/>
            <a:ext cx="4596569" cy="2100611"/>
          </a:xfrm>
          <a:prstGeom prst="roundRect">
            <a:avLst/>
          </a:prstGeom>
          <a:solidFill>
            <a:schemeClr val="accent6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09630" latinLnBrk="0"/>
            <a:endParaRPr lang="ko-KR" altLang="en-US" sz="12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8A05FA-FD59-0CAB-0FBE-C5DE5014F817}"/>
              </a:ext>
            </a:extLst>
          </p:cNvPr>
          <p:cNvSpPr txBox="1"/>
          <p:nvPr/>
        </p:nvSpPr>
        <p:spPr>
          <a:xfrm>
            <a:off x="3123137" y="3474032"/>
            <a:ext cx="21714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 latinLnBrk="0">
              <a:defRPr/>
            </a:pPr>
            <a:r>
              <a:rPr lang="ko-KR" altLang="en-US" sz="1600" b="1" dirty="0">
                <a:solidFill>
                  <a:srgbClr val="173B68"/>
                </a:solidFill>
                <a:ea typeface="맑은 고딕" panose="020B0503020000020004" pitchFamily="50" charset="-127"/>
              </a:rPr>
              <a:t>신혜원 </a:t>
            </a:r>
            <a:r>
              <a:rPr lang="en-US" altLang="ko-KR" sz="1600" b="1" dirty="0">
                <a:solidFill>
                  <a:srgbClr val="173B68"/>
                </a:solidFill>
                <a:ea typeface="맑은 고딕" panose="020B0503020000020004" pitchFamily="50" charset="-127"/>
              </a:rPr>
              <a:t>(Shin Hyewon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595753A-3B15-7A17-DB4E-690579DEFB32}"/>
              </a:ext>
            </a:extLst>
          </p:cNvPr>
          <p:cNvSpPr txBox="1"/>
          <p:nvPr/>
        </p:nvSpPr>
        <p:spPr>
          <a:xfrm>
            <a:off x="3305375" y="4002099"/>
            <a:ext cx="1793168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 latinLnBrk="0">
              <a:defRPr/>
            </a:pPr>
            <a: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  <a:t>“ Couldn’t be </a:t>
            </a:r>
            <a:b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  <a:t>any better.”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F5CB3E2-F075-3A00-5A95-29C883C27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03487" y="3146733"/>
            <a:ext cx="2108805" cy="2108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" name="사각형: 둥근 모서리 1023">
            <a:extLst>
              <a:ext uri="{FF2B5EF4-FFF2-40B4-BE49-F238E27FC236}">
                <a16:creationId xmlns:a16="http://schemas.microsoft.com/office/drawing/2014/main" id="{972DC2EB-2825-9AE6-E731-F915DCAF1D92}"/>
              </a:ext>
            </a:extLst>
          </p:cNvPr>
          <p:cNvSpPr/>
          <p:nvPr/>
        </p:nvSpPr>
        <p:spPr>
          <a:xfrm>
            <a:off x="6305439" y="2875014"/>
            <a:ext cx="5062885" cy="2517668"/>
          </a:xfrm>
          <a:prstGeom prst="roundRect">
            <a:avLst/>
          </a:prstGeom>
          <a:solidFill>
            <a:schemeClr val="accent6">
              <a:lumMod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09630" latinLnBrk="0"/>
            <a:endParaRPr lang="ko-KR" altLang="en-US" sz="12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1025" name="사각형: 둥근 모서리 1024">
            <a:extLst>
              <a:ext uri="{FF2B5EF4-FFF2-40B4-BE49-F238E27FC236}">
                <a16:creationId xmlns:a16="http://schemas.microsoft.com/office/drawing/2014/main" id="{67CE279E-ED36-4835-E9FB-BD29004D218A}"/>
              </a:ext>
            </a:extLst>
          </p:cNvPr>
          <p:cNvSpPr/>
          <p:nvPr/>
        </p:nvSpPr>
        <p:spPr>
          <a:xfrm>
            <a:off x="6536254" y="3083542"/>
            <a:ext cx="4601253" cy="2100611"/>
          </a:xfrm>
          <a:prstGeom prst="roundRect">
            <a:avLst/>
          </a:prstGeom>
          <a:solidFill>
            <a:schemeClr val="accent6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09630" latinLnBrk="0"/>
            <a:endParaRPr lang="ko-KR" altLang="en-US" sz="12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F3E49F65-74C4-CF42-8982-B0E40FFE94A6}"/>
              </a:ext>
            </a:extLst>
          </p:cNvPr>
          <p:cNvSpPr txBox="1"/>
          <p:nvPr/>
        </p:nvSpPr>
        <p:spPr>
          <a:xfrm>
            <a:off x="8556049" y="3474032"/>
            <a:ext cx="21714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 latinLnBrk="0">
              <a:defRPr/>
            </a:pPr>
            <a:r>
              <a:rPr lang="ko-KR" altLang="en-US" sz="1600" b="1" dirty="0">
                <a:solidFill>
                  <a:srgbClr val="173B68"/>
                </a:solidFill>
                <a:ea typeface="맑은 고딕" panose="020B0503020000020004" pitchFamily="50" charset="-127"/>
              </a:rPr>
              <a:t>류동현 </a:t>
            </a:r>
            <a:r>
              <a:rPr lang="en-US" altLang="ko-KR" sz="1600" b="1" dirty="0">
                <a:solidFill>
                  <a:srgbClr val="173B68"/>
                </a:solidFill>
                <a:ea typeface="맑은 고딕" panose="020B0503020000020004" pitchFamily="50" charset="-127"/>
              </a:rPr>
              <a:t>(Ryu Donghyun)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43BB8D98-6434-8BBB-4ED8-B046BA5E4DEB}"/>
              </a:ext>
            </a:extLst>
          </p:cNvPr>
          <p:cNvSpPr txBox="1"/>
          <p:nvPr/>
        </p:nvSpPr>
        <p:spPr>
          <a:xfrm>
            <a:off x="8524553" y="4001067"/>
            <a:ext cx="2151633" cy="707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 latinLnBrk="0">
              <a:defRPr/>
            </a:pPr>
            <a: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  <a:t>“ Gearing up</a:t>
            </a:r>
            <a:b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  <a:t>for </a:t>
            </a:r>
            <a:b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333" b="1" dirty="0">
                <a:solidFill>
                  <a:srgbClr val="000000"/>
                </a:solidFill>
                <a:ea typeface="맑은 고딕" panose="020B0503020000020004" pitchFamily="50" charset="-127"/>
              </a:rPr>
              <a:t>G.O.A.T ”</a:t>
            </a:r>
          </a:p>
        </p:txBody>
      </p:sp>
      <p:pic>
        <p:nvPicPr>
          <p:cNvPr id="1030" name="Picture 2">
            <a:extLst>
              <a:ext uri="{FF2B5EF4-FFF2-40B4-BE49-F238E27FC236}">
                <a16:creationId xmlns:a16="http://schemas.microsoft.com/office/drawing/2014/main" id="{DD3B99E7-9274-1941-CD87-D259163A4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29" y="3010307"/>
            <a:ext cx="2035103" cy="2093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8" name="TextBox 1057">
            <a:extLst>
              <a:ext uri="{FF2B5EF4-FFF2-40B4-BE49-F238E27FC236}">
                <a16:creationId xmlns:a16="http://schemas.microsoft.com/office/drawing/2014/main" id="{B642AF7F-2371-B93B-1AF3-9C3AF64CAE41}"/>
              </a:ext>
            </a:extLst>
          </p:cNvPr>
          <p:cNvSpPr txBox="1"/>
          <p:nvPr/>
        </p:nvSpPr>
        <p:spPr>
          <a:xfrm>
            <a:off x="3667454" y="1181100"/>
            <a:ext cx="4857099" cy="615553"/>
          </a:xfrm>
          <a:prstGeom prst="rect">
            <a:avLst/>
          </a:prstGeom>
          <a:solidFill>
            <a:schemeClr val="accent6">
              <a:lumMod val="25000"/>
            </a:schemeClr>
          </a:solidFill>
        </p:spPr>
        <p:txBody>
          <a:bodyPr vert="horz" wrap="non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altLang="ko-KR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ANK YOU, </a:t>
            </a:r>
            <a:r>
              <a:rPr lang="en-US" altLang="ko-KR" sz="4000" b="1" dirty="0">
                <a:solidFill>
                  <a:schemeClr val="bg1"/>
                </a:solidFill>
              </a:rPr>
              <a:t>IT TEAM !</a:t>
            </a:r>
            <a:endParaRPr lang="ko-KR" altLang="en-US" sz="4000" b="1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89370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90EA6EC-10AF-702D-D44A-7D5C8A06232D}"/>
              </a:ext>
            </a:extLst>
          </p:cNvPr>
          <p:cNvSpPr txBox="1"/>
          <p:nvPr/>
        </p:nvSpPr>
        <p:spPr>
          <a:xfrm>
            <a:off x="2953779" y="3121223"/>
            <a:ext cx="6284442" cy="615553"/>
          </a:xfrm>
          <a:prstGeom prst="rect">
            <a:avLst/>
          </a:prstGeom>
          <a:solidFill>
            <a:schemeClr val="accent6">
              <a:lumMod val="2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altLang="ko-KR" sz="4000" b="1" dirty="0">
                <a:solidFill>
                  <a:schemeClr val="bg1"/>
                </a:solidFill>
              </a:rPr>
              <a:t>Message to Us</a:t>
            </a:r>
            <a:endParaRPr lang="ko-KR" altLang="en-US" sz="4000" b="1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제목 6">
            <a:extLst>
              <a:ext uri="{FF2B5EF4-FFF2-40B4-BE49-F238E27FC236}">
                <a16:creationId xmlns:a16="http://schemas.microsoft.com/office/drawing/2014/main" id="{C75ABA2C-ACDC-18D7-E709-7D294AF74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en-US" altLang="ko-KR" dirty="0"/>
            </a:b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14345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14AE5-D7F3-EE5F-F597-CC48A57930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FG-AP-52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3E7768-D632-90B8-5C54-2C78FED057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0860211-D526-62DC-1DBC-9F6ADFD9D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2566654"/>
            <a:ext cx="6975112" cy="861774"/>
          </a:xfrm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cap="small" dirty="0">
                <a:latin typeface="+mn-lt"/>
                <a:ea typeface="+mn-ea"/>
                <a:cs typeface="+mn-cs"/>
              </a:rPr>
              <a:t>IT BUDGET &amp; TEAM</a:t>
            </a:r>
            <a:br>
              <a:rPr lang="en-US" altLang="ko-KR" sz="2800" cap="small" dirty="0">
                <a:latin typeface="+mn-lt"/>
                <a:ea typeface="+mn-ea"/>
                <a:cs typeface="+mn-cs"/>
              </a:rPr>
            </a:br>
            <a:r>
              <a:rPr lang="en-US" altLang="ko-KR" sz="2800" cap="small" dirty="0">
                <a:latin typeface="+mn-lt"/>
                <a:ea typeface="+mn-ea"/>
                <a:cs typeface="+mn-cs"/>
              </a:rPr>
              <a:t>BETTY SHIN</a:t>
            </a:r>
            <a:endParaRPr lang="en-US" altLang="ko-KR" sz="2800" kern="1200" cap="small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2627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26D3AC5A-352D-B287-D733-E53902B46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My INITIAL goals for the internship</a:t>
            </a:r>
            <a:endParaRPr lang="ko-KR" altLang="en-US" sz="3200" dirty="0"/>
          </a:p>
        </p:txBody>
      </p:sp>
      <p:sp>
        <p:nvSpPr>
          <p:cNvPr id="8" name="내용 개체 틀 7">
            <a:extLst>
              <a:ext uri="{FF2B5EF4-FFF2-40B4-BE49-F238E27FC236}">
                <a16:creationId xmlns:a16="http://schemas.microsoft.com/office/drawing/2014/main" id="{C9CC28FC-2DDB-BABA-B176-0FC36978717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88511" y="4271059"/>
            <a:ext cx="3597561" cy="2006304"/>
          </a:xfrm>
        </p:spPr>
        <p:txBody>
          <a:bodyPr/>
          <a:lstStyle/>
          <a:p>
            <a:pPr marL="0" indent="0" algn="ctr">
              <a:lnSpc>
                <a:spcPts val="1800"/>
              </a:lnSpc>
              <a:buNone/>
            </a:pPr>
            <a: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Haven’t chosen my career path yet.</a:t>
            </a:r>
          </a:p>
          <a:p>
            <a:pPr marL="0" indent="0" algn="ctr">
              <a:lnSpc>
                <a:spcPts val="1800"/>
              </a:lnSpc>
              <a:buNone/>
            </a:pPr>
            <a:b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Software Engineer?</a:t>
            </a:r>
          </a:p>
          <a:p>
            <a:pPr marL="0" indent="0" algn="ctr">
              <a:lnSpc>
                <a:spcPts val="1800"/>
              </a:lnSpc>
              <a:buNone/>
            </a:pPr>
            <a: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Become Public School Teacher?</a:t>
            </a:r>
          </a:p>
          <a:p>
            <a:pPr marL="0" indent="0" algn="ctr">
              <a:lnSpc>
                <a:spcPts val="1800"/>
              </a:lnSpc>
              <a:buNone/>
            </a:pPr>
            <a: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Go to Graduate School?</a:t>
            </a:r>
          </a:p>
          <a:p>
            <a:pPr marL="0" indent="0" algn="ctr">
              <a:lnSpc>
                <a:spcPts val="1800"/>
              </a:lnSpc>
              <a:buNone/>
            </a:pPr>
            <a:r>
              <a:rPr lang="en-US" altLang="ko-KR" b="1" i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Change My Major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576EAA-D720-72A4-7455-D64EB3411C53}"/>
              </a:ext>
            </a:extLst>
          </p:cNvPr>
          <p:cNvSpPr txBox="1"/>
          <p:nvPr/>
        </p:nvSpPr>
        <p:spPr>
          <a:xfrm>
            <a:off x="668731" y="1136934"/>
            <a:ext cx="3295774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BMWGroupTN Condensed"/>
              </a:rPr>
              <a:t>NOT MAKING MISTAKES IN SCIAL LIFE 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6BDC51-2FC9-B839-B0C0-BFED0A56AFF3}"/>
              </a:ext>
            </a:extLst>
          </p:cNvPr>
          <p:cNvSpPr txBox="1"/>
          <p:nvPr/>
        </p:nvSpPr>
        <p:spPr>
          <a:xfrm>
            <a:off x="4489791" y="1136934"/>
            <a:ext cx="3212418" cy="2367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NOT MESSING UP MY TASKS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pic>
        <p:nvPicPr>
          <p:cNvPr id="12" name="그림 개체 틀 11">
            <a:extLst>
              <a:ext uri="{FF2B5EF4-FFF2-40B4-BE49-F238E27FC236}">
                <a16:creationId xmlns:a16="http://schemas.microsoft.com/office/drawing/2014/main" id="{BC0DDFFA-607E-1347-F8BC-0D5A699A515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17983" b="17983"/>
          <a:stretch/>
        </p:blipFill>
        <p:spPr>
          <a:xfrm>
            <a:off x="488947" y="1451641"/>
            <a:ext cx="3597561" cy="2246089"/>
          </a:xfrm>
        </p:spPr>
      </p:pic>
      <p:pic>
        <p:nvPicPr>
          <p:cNvPr id="25" name="그림 개체 틀 24">
            <a:extLst>
              <a:ext uri="{FF2B5EF4-FFF2-40B4-BE49-F238E27FC236}">
                <a16:creationId xmlns:a16="http://schemas.microsoft.com/office/drawing/2014/main" id="{44ECDEA1-72CD-3421-18C3-0390BC2CA1D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/>
          <a:srcRect t="50789" b="635"/>
          <a:stretch/>
        </p:blipFill>
        <p:spPr>
          <a:xfrm>
            <a:off x="8115528" y="1413933"/>
            <a:ext cx="3943528" cy="2462089"/>
          </a:xfr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8CEA2A7-D714-1756-8E14-011DABC98BD5}"/>
              </a:ext>
            </a:extLst>
          </p:cNvPr>
          <p:cNvSpPr txBox="1"/>
          <p:nvPr/>
        </p:nvSpPr>
        <p:spPr>
          <a:xfrm>
            <a:off x="7900069" y="1136934"/>
            <a:ext cx="4374446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FIGURE OUT WHAT TO STUDY/IMPROVE MOR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</p:txBody>
      </p:sp>
      <p:pic>
        <p:nvPicPr>
          <p:cNvPr id="1026" name="Picture 2" descr="Bad Luck Brian Meme - Imgflip">
            <a:extLst>
              <a:ext uri="{FF2B5EF4-FFF2-40B4-BE49-F238E27FC236}">
                <a16:creationId xmlns:a16="http://schemas.microsoft.com/office/drawing/2014/main" id="{1A403847-D8C0-34C3-962D-D7CC985B9D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242" y="1413933"/>
            <a:ext cx="2226915" cy="263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10B210CC-B403-4EE7-3F27-709B6A20A6D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1119"/>
          <a:stretch/>
        </p:blipFill>
        <p:spPr>
          <a:xfrm>
            <a:off x="298081" y="3781605"/>
            <a:ext cx="1641868" cy="2524927"/>
          </a:xfrm>
          <a:prstGeom prst="rect">
            <a:avLst/>
          </a:prstGeom>
        </p:spPr>
      </p:pic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9B46F79-D624-AC84-6F24-95F3B68B78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89791" y="4625784"/>
            <a:ext cx="3597561" cy="1296855"/>
          </a:xfrm>
        </p:spPr>
        <p:txBody>
          <a:bodyPr/>
          <a:lstStyle/>
          <a:p>
            <a:pPr marL="0" indent="0" algn="ctr"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First Internship in my life!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What if I call my boss in wrong name..?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What if …?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endParaRPr lang="en-US" altLang="ko-KR" b="1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pic>
        <p:nvPicPr>
          <p:cNvPr id="1025" name="그림 1024">
            <a:extLst>
              <a:ext uri="{FF2B5EF4-FFF2-40B4-BE49-F238E27FC236}">
                <a16:creationId xmlns:a16="http://schemas.microsoft.com/office/drawing/2014/main" id="{B7E3F488-2BD5-478D-08B2-4EFBC0E518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9961" y="3781605"/>
            <a:ext cx="2446952" cy="252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914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2A719D0C-0E9B-6232-41BC-A4DEF1300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92443"/>
          </a:xfrm>
        </p:spPr>
        <p:txBody>
          <a:bodyPr/>
          <a:lstStyle/>
          <a:p>
            <a:r>
              <a:rPr lang="en-US" altLang="ko-KR" sz="3200" dirty="0"/>
              <a:t>What I’ve done Over the Past 6 Months</a:t>
            </a:r>
            <a:endParaRPr lang="ko-KR" altLang="en-US" sz="3200" dirty="0"/>
          </a:p>
        </p:txBody>
      </p:sp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104F4E22-0527-BF8D-DBC5-01DF1BD4C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480342"/>
              </p:ext>
            </p:extLst>
          </p:nvPr>
        </p:nvGraphicFramePr>
        <p:xfrm>
          <a:off x="357660" y="1003345"/>
          <a:ext cx="11476679" cy="5012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7135">
                  <a:extLst>
                    <a:ext uri="{9D8B030D-6E8A-4147-A177-3AD203B41FA5}">
                      <a16:colId xmlns:a16="http://schemas.microsoft.com/office/drawing/2014/main" val="2520020809"/>
                    </a:ext>
                  </a:extLst>
                </a:gridCol>
                <a:gridCol w="1698171">
                  <a:extLst>
                    <a:ext uri="{9D8B030D-6E8A-4147-A177-3AD203B41FA5}">
                      <a16:colId xmlns:a16="http://schemas.microsoft.com/office/drawing/2014/main" val="3900654586"/>
                    </a:ext>
                  </a:extLst>
                </a:gridCol>
                <a:gridCol w="1621677">
                  <a:extLst>
                    <a:ext uri="{9D8B030D-6E8A-4147-A177-3AD203B41FA5}">
                      <a16:colId xmlns:a16="http://schemas.microsoft.com/office/drawing/2014/main" val="1959177280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2013850787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2581263698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815140245"/>
                    </a:ext>
                  </a:extLst>
                </a:gridCol>
                <a:gridCol w="1659924">
                  <a:extLst>
                    <a:ext uri="{9D8B030D-6E8A-4147-A177-3AD203B41FA5}">
                      <a16:colId xmlns:a16="http://schemas.microsoft.com/office/drawing/2014/main" val="4021879206"/>
                    </a:ext>
                  </a:extLst>
                </a:gridCol>
              </a:tblGrid>
              <a:tr h="674626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Schedule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Jan.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Feb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Mar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Apr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May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Jun.</a:t>
                      </a:r>
                      <a:endParaRPr lang="ko-KR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BMWGroupTN Condensed" pitchFamily="50" charset="0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2536633"/>
                  </a:ext>
                </a:extLst>
              </a:tr>
              <a:tr h="4337413">
                <a:tc>
                  <a:txBody>
                    <a:bodyPr/>
                    <a:lstStyle/>
                    <a:p>
                      <a:pPr marL="0" algn="ctr" defTabSz="1371600" rtl="0" eaLnBrk="1" fontAlgn="b" latinLnBrk="1" hangingPunct="1"/>
                      <a:r>
                        <a:rPr lang="en-US" altLang="ko-KR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MWGroupTN Condensed" pitchFamily="50" charset="0"/>
                          <a:ea typeface="맑은 고딕" panose="020B0503020000020004" pitchFamily="50" charset="-127"/>
                          <a:cs typeface="+mn-cs"/>
                        </a:rPr>
                        <a:t>Tasks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en-US" altLang="ko-KR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2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412490"/>
                  </a:ext>
                </a:extLst>
              </a:tr>
            </a:tbl>
          </a:graphicData>
        </a:graphic>
      </p:graphicFrame>
      <p:sp>
        <p:nvSpPr>
          <p:cNvPr id="20" name="화살표: 오각형 19">
            <a:extLst>
              <a:ext uri="{FF2B5EF4-FFF2-40B4-BE49-F238E27FC236}">
                <a16:creationId xmlns:a16="http://schemas.microsoft.com/office/drawing/2014/main" id="{8FB7003C-FBC4-B965-EC26-5017AA950497}"/>
              </a:ext>
            </a:extLst>
          </p:cNvPr>
          <p:cNvSpPr/>
          <p:nvPr/>
        </p:nvSpPr>
        <p:spPr>
          <a:xfrm>
            <a:off x="1892076" y="1867515"/>
            <a:ext cx="986521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Infrastructure Daily Meeting &amp; Budget Meeting &amp; Team Meeting</a:t>
            </a:r>
          </a:p>
        </p:txBody>
      </p:sp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0A55FC9D-3C10-8161-A823-0A707732A284}"/>
              </a:ext>
            </a:extLst>
          </p:cNvPr>
          <p:cNvSpPr/>
          <p:nvPr/>
        </p:nvSpPr>
        <p:spPr>
          <a:xfrm>
            <a:off x="1892076" y="2474887"/>
            <a:ext cx="4906383" cy="27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Auto-monitoring Development</a:t>
            </a:r>
            <a:endParaRPr kumimoji="0" lang="ko-KR" alt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화살표: 오각형 3">
            <a:extLst>
              <a:ext uri="{FF2B5EF4-FFF2-40B4-BE49-F238E27FC236}">
                <a16:creationId xmlns:a16="http://schemas.microsoft.com/office/drawing/2014/main" id="{F70AFB30-1196-2314-A886-95C8F526DE66}"/>
              </a:ext>
            </a:extLst>
          </p:cNvPr>
          <p:cNvSpPr/>
          <p:nvPr/>
        </p:nvSpPr>
        <p:spPr>
          <a:xfrm>
            <a:off x="8543049" y="5138599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eam Worksho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화살표: 오각형 4">
            <a:extLst>
              <a:ext uri="{FF2B5EF4-FFF2-40B4-BE49-F238E27FC236}">
                <a16:creationId xmlns:a16="http://schemas.microsoft.com/office/drawing/2014/main" id="{24C46104-2A64-886F-57D7-471B7B43C962}"/>
              </a:ext>
            </a:extLst>
          </p:cNvPr>
          <p:cNvSpPr/>
          <p:nvPr/>
        </p:nvSpPr>
        <p:spPr>
          <a:xfrm>
            <a:off x="1892076" y="2166859"/>
            <a:ext cx="9865216" cy="2700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PR &amp; PO</a:t>
            </a:r>
          </a:p>
        </p:txBody>
      </p:sp>
      <p:sp>
        <p:nvSpPr>
          <p:cNvPr id="7" name="화살표: 오각형 6">
            <a:extLst>
              <a:ext uri="{FF2B5EF4-FFF2-40B4-BE49-F238E27FC236}">
                <a16:creationId xmlns:a16="http://schemas.microsoft.com/office/drawing/2014/main" id="{24ED18CA-C325-0990-2EC6-D3A2B22399CA}"/>
              </a:ext>
            </a:extLst>
          </p:cNvPr>
          <p:cNvSpPr/>
          <p:nvPr/>
        </p:nvSpPr>
        <p:spPr>
          <a:xfrm>
            <a:off x="8534503" y="5462449"/>
            <a:ext cx="1584936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RDC Visi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8" name="화살표: 오각형 7">
            <a:extLst>
              <a:ext uri="{FF2B5EF4-FFF2-40B4-BE49-F238E27FC236}">
                <a16:creationId xmlns:a16="http://schemas.microsoft.com/office/drawing/2014/main" id="{2C6787E3-8402-159A-E772-5D1141F59C14}"/>
              </a:ext>
            </a:extLst>
          </p:cNvPr>
          <p:cNvSpPr/>
          <p:nvPr/>
        </p:nvSpPr>
        <p:spPr>
          <a:xfrm>
            <a:off x="10198921" y="5133206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NSC Facing Worksho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화살표: 오각형 8">
            <a:extLst>
              <a:ext uri="{FF2B5EF4-FFF2-40B4-BE49-F238E27FC236}">
                <a16:creationId xmlns:a16="http://schemas.microsoft.com/office/drawing/2014/main" id="{0DB99A08-4E94-EA85-F762-05AC558827D7}"/>
              </a:ext>
            </a:extLst>
          </p:cNvPr>
          <p:cNvSpPr/>
          <p:nvPr/>
        </p:nvSpPr>
        <p:spPr>
          <a:xfrm>
            <a:off x="3609022" y="3443218"/>
            <a:ext cx="3249741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2025 1Q Newslett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화살표: 오각형 9">
            <a:extLst>
              <a:ext uri="{FF2B5EF4-FFF2-40B4-BE49-F238E27FC236}">
                <a16:creationId xmlns:a16="http://schemas.microsoft.com/office/drawing/2014/main" id="{08DEF9A3-49CB-CC23-274D-AD66038186C5}"/>
              </a:ext>
            </a:extLst>
          </p:cNvPr>
          <p:cNvSpPr/>
          <p:nvPr/>
        </p:nvSpPr>
        <p:spPr>
          <a:xfrm>
            <a:off x="8534116" y="3425578"/>
            <a:ext cx="3249741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2025 2Q Newslett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화살표: 오각형 10">
            <a:extLst>
              <a:ext uri="{FF2B5EF4-FFF2-40B4-BE49-F238E27FC236}">
                <a16:creationId xmlns:a16="http://schemas.microsoft.com/office/drawing/2014/main" id="{E8FB6618-95AA-2F1D-0264-88CE211F2E27}"/>
              </a:ext>
            </a:extLst>
          </p:cNvPr>
          <p:cNvSpPr/>
          <p:nvPr/>
        </p:nvSpPr>
        <p:spPr>
          <a:xfrm>
            <a:off x="5233894" y="2782915"/>
            <a:ext cx="6600445" cy="2700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GCS (GETCHA Scraper) Developmen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12" name="화살표: 오각형 11">
            <a:extLst>
              <a:ext uri="{FF2B5EF4-FFF2-40B4-BE49-F238E27FC236}">
                <a16:creationId xmlns:a16="http://schemas.microsoft.com/office/drawing/2014/main" id="{76679868-9CAA-A651-6D5A-F31ECC377201}"/>
              </a:ext>
            </a:extLst>
          </p:cNvPr>
          <p:cNvSpPr/>
          <p:nvPr/>
        </p:nvSpPr>
        <p:spPr>
          <a:xfrm>
            <a:off x="3585998" y="5433445"/>
            <a:ext cx="1583594" cy="4464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IDS Dealer </a:t>
            </a:r>
            <a:b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</a:b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Manual Creation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13" name="화살표: 오각형 12">
            <a:extLst>
              <a:ext uri="{FF2B5EF4-FFF2-40B4-BE49-F238E27FC236}">
                <a16:creationId xmlns:a16="http://schemas.microsoft.com/office/drawing/2014/main" id="{231FABBE-677B-D16E-F8DE-335CFDE3BAA0}"/>
              </a:ext>
            </a:extLst>
          </p:cNvPr>
          <p:cNvSpPr/>
          <p:nvPr/>
        </p:nvSpPr>
        <p:spPr>
          <a:xfrm>
            <a:off x="5217596" y="5467629"/>
            <a:ext cx="1599269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MyDMS</a:t>
            </a: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Dealer CCB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14" name="화살표: 오각형 13">
            <a:extLst>
              <a:ext uri="{FF2B5EF4-FFF2-40B4-BE49-F238E27FC236}">
                <a16:creationId xmlns:a16="http://schemas.microsoft.com/office/drawing/2014/main" id="{E211EF28-0632-BBFC-6023-C6E80EE65D6E}"/>
              </a:ext>
            </a:extLst>
          </p:cNvPr>
          <p:cNvSpPr/>
          <p:nvPr/>
        </p:nvSpPr>
        <p:spPr>
          <a:xfrm>
            <a:off x="6893336" y="5210690"/>
            <a:ext cx="1599269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IDS Rollout Suppor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화살표: 오각형 14">
            <a:extLst>
              <a:ext uri="{FF2B5EF4-FFF2-40B4-BE49-F238E27FC236}">
                <a16:creationId xmlns:a16="http://schemas.microsoft.com/office/drawing/2014/main" id="{BC2DDF6D-E0D7-B7F0-E07F-22577D5347D7}"/>
              </a:ext>
            </a:extLst>
          </p:cNvPr>
          <p:cNvSpPr/>
          <p:nvPr/>
        </p:nvSpPr>
        <p:spPr>
          <a:xfrm>
            <a:off x="6892504" y="4801841"/>
            <a:ext cx="1599269" cy="360000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DH Data </a:t>
            </a:r>
            <a:b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Manul Input Suppor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화살표: 오각형 15">
            <a:extLst>
              <a:ext uri="{FF2B5EF4-FFF2-40B4-BE49-F238E27FC236}">
                <a16:creationId xmlns:a16="http://schemas.microsoft.com/office/drawing/2014/main" id="{BA6F8B28-8AC2-0EA8-7D93-8713B3FE109A}"/>
              </a:ext>
            </a:extLst>
          </p:cNvPr>
          <p:cNvSpPr/>
          <p:nvPr/>
        </p:nvSpPr>
        <p:spPr>
          <a:xfrm>
            <a:off x="6873698" y="5565948"/>
            <a:ext cx="1598400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WOT Preparation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화살표: 오각형 18">
            <a:extLst>
              <a:ext uri="{FF2B5EF4-FFF2-40B4-BE49-F238E27FC236}">
                <a16:creationId xmlns:a16="http://schemas.microsoft.com/office/drawing/2014/main" id="{80822915-BA7A-996A-AD44-CBC059F68822}"/>
              </a:ext>
            </a:extLst>
          </p:cNvPr>
          <p:cNvSpPr/>
          <p:nvPr/>
        </p:nvSpPr>
        <p:spPr>
          <a:xfrm>
            <a:off x="10206882" y="3752496"/>
            <a:ext cx="1542592" cy="27876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eam building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1" name="화살표: 오각형 20">
            <a:extLst>
              <a:ext uri="{FF2B5EF4-FFF2-40B4-BE49-F238E27FC236}">
                <a16:creationId xmlns:a16="http://schemas.microsoft.com/office/drawing/2014/main" id="{98F2F236-B631-BA3C-8737-A61C1C5B0095}"/>
              </a:ext>
            </a:extLst>
          </p:cNvPr>
          <p:cNvSpPr/>
          <p:nvPr/>
        </p:nvSpPr>
        <p:spPr>
          <a:xfrm>
            <a:off x="5211009" y="4092191"/>
            <a:ext cx="1584936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VDC Visi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3" name="화살표: 오각형 22">
            <a:extLst>
              <a:ext uri="{FF2B5EF4-FFF2-40B4-BE49-F238E27FC236}">
                <a16:creationId xmlns:a16="http://schemas.microsoft.com/office/drawing/2014/main" id="{7EF20619-630F-1204-907C-2C22362E547A}"/>
              </a:ext>
            </a:extLst>
          </p:cNvPr>
          <p:cNvSpPr/>
          <p:nvPr/>
        </p:nvSpPr>
        <p:spPr>
          <a:xfrm>
            <a:off x="5233893" y="3104457"/>
            <a:ext cx="4895299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Cloud Study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화살표: 오각형 24">
            <a:extLst>
              <a:ext uri="{FF2B5EF4-FFF2-40B4-BE49-F238E27FC236}">
                <a16:creationId xmlns:a16="http://schemas.microsoft.com/office/drawing/2014/main" id="{85DBF61A-2E0D-ACEE-B2FF-4576646AB36C}"/>
              </a:ext>
            </a:extLst>
          </p:cNvPr>
          <p:cNvSpPr/>
          <p:nvPr/>
        </p:nvSpPr>
        <p:spPr>
          <a:xfrm>
            <a:off x="3609022" y="4103100"/>
            <a:ext cx="1597965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AP RISE UA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6" name="화살표: 오각형 25">
            <a:extLst>
              <a:ext uri="{FF2B5EF4-FFF2-40B4-BE49-F238E27FC236}">
                <a16:creationId xmlns:a16="http://schemas.microsoft.com/office/drawing/2014/main" id="{8C1037EE-7C23-DEBE-C5F0-1A0A87CA8DD6}"/>
              </a:ext>
            </a:extLst>
          </p:cNvPr>
          <p:cNvSpPr/>
          <p:nvPr/>
        </p:nvSpPr>
        <p:spPr>
          <a:xfrm>
            <a:off x="8524732" y="4097548"/>
            <a:ext cx="1584936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DC Visi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7" name="화살표: 오각형 26">
            <a:extLst>
              <a:ext uri="{FF2B5EF4-FFF2-40B4-BE49-F238E27FC236}">
                <a16:creationId xmlns:a16="http://schemas.microsoft.com/office/drawing/2014/main" id="{8C2CB17E-CE35-1540-3E82-F14C6F239E67}"/>
              </a:ext>
            </a:extLst>
          </p:cNvPr>
          <p:cNvSpPr/>
          <p:nvPr/>
        </p:nvSpPr>
        <p:spPr>
          <a:xfrm>
            <a:off x="8524732" y="4420904"/>
            <a:ext cx="1584936" cy="269579"/>
          </a:xfrm>
          <a:prstGeom prst="homePlate">
            <a:avLst/>
          </a:prstGeom>
          <a:solidFill>
            <a:srgbClr val="DDEBF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AWS Summi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0327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9063DD95-52C5-40AB-4F26-732BB3BE501E}"/>
              </a:ext>
            </a:extLst>
          </p:cNvPr>
          <p:cNvSpPr/>
          <p:nvPr/>
        </p:nvSpPr>
        <p:spPr>
          <a:xfrm>
            <a:off x="470092" y="117194"/>
            <a:ext cx="3600000" cy="2700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맑은 고딕" panose="020B0503020000020004" pitchFamily="50" charset="-127"/>
                <a:cs typeface="+mn-cs"/>
              </a:rPr>
              <a:t>PR &amp; PO</a:t>
            </a: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D3F65E64-6294-D8A3-3560-33DDF56720F2}"/>
              </a:ext>
            </a:extLst>
          </p:cNvPr>
          <p:cNvGrpSpPr/>
          <p:nvPr/>
        </p:nvGrpSpPr>
        <p:grpSpPr>
          <a:xfrm>
            <a:off x="375823" y="479514"/>
            <a:ext cx="3597561" cy="2212504"/>
            <a:chOff x="256137" y="854592"/>
            <a:chExt cx="5390519" cy="2976423"/>
          </a:xfrm>
        </p:grpSpPr>
        <p:sp>
          <p:nvSpPr>
            <p:cNvPr id="15" name="사각형: 둥근 모서리 14">
              <a:extLst>
                <a:ext uri="{FF2B5EF4-FFF2-40B4-BE49-F238E27FC236}">
                  <a16:creationId xmlns:a16="http://schemas.microsoft.com/office/drawing/2014/main" id="{C32AE928-DB89-C89E-4402-34D368881D15}"/>
                </a:ext>
              </a:extLst>
            </p:cNvPr>
            <p:cNvSpPr/>
            <p:nvPr/>
          </p:nvSpPr>
          <p:spPr>
            <a:xfrm>
              <a:off x="256137" y="854592"/>
              <a:ext cx="5390519" cy="2976423"/>
            </a:xfrm>
            <a:prstGeom prst="roundRect">
              <a:avLst>
                <a:gd name="adj" fmla="val 494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BMWTypeRegular" panose="020B0604020202020204" pitchFamily="34" charset="0"/>
                <a:ea typeface="BMWTypeNext Kr Regular"/>
              </a:endParaRPr>
            </a:p>
          </p:txBody>
        </p:sp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7A4FC643-E686-70C6-A24E-E0366DA0F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6938" y="1117334"/>
              <a:ext cx="5011703" cy="2713680"/>
            </a:xfrm>
            <a:prstGeom prst="rect">
              <a:avLst/>
            </a:prstGeom>
          </p:spPr>
        </p:pic>
        <p:pic>
          <p:nvPicPr>
            <p:cNvPr id="17" name="Picture 2" descr="SAP 기업 분석, ERP의 지배자, 성장하는 tier 1 독일산 기업 - 내분비내과의사의 투자와 건강">
              <a:extLst>
                <a:ext uri="{FF2B5EF4-FFF2-40B4-BE49-F238E27FC236}">
                  <a16:creationId xmlns:a16="http://schemas.microsoft.com/office/drawing/2014/main" id="{73BD6E5D-2BF1-2B2C-703F-BE90C5D134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9191" y="901727"/>
              <a:ext cx="2070921" cy="1025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내용 개체 틀 5">
            <a:extLst>
              <a:ext uri="{FF2B5EF4-FFF2-40B4-BE49-F238E27FC236}">
                <a16:creationId xmlns:a16="http://schemas.microsoft.com/office/drawing/2014/main" id="{94576634-B8F9-E215-0163-AB35FDC089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5823" y="2727055"/>
            <a:ext cx="3597561" cy="668689"/>
          </a:xfrm>
        </p:spPr>
        <p:txBody>
          <a:bodyPr/>
          <a:lstStyle/>
          <a:p>
            <a:pPr marL="0" indent="0" algn="ctr"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How the money flows.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Anyways it’s commercial organization.</a:t>
            </a:r>
          </a:p>
          <a:p>
            <a:pPr marL="0" indent="0" algn="ctr">
              <a:buNone/>
            </a:pPr>
            <a:endParaRPr lang="en-US" altLang="ko-KR" b="1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  <a:p>
            <a:pPr marL="0" indent="0" algn="ctr">
              <a:buNone/>
            </a:pP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endParaRPr lang="en-US" altLang="ko-KR" b="1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19" name="화살표: 오각형 18">
            <a:extLst>
              <a:ext uri="{FF2B5EF4-FFF2-40B4-BE49-F238E27FC236}">
                <a16:creationId xmlns:a16="http://schemas.microsoft.com/office/drawing/2014/main" id="{C495C8C1-FECC-FE4B-8B63-F6B93BBB2A32}"/>
              </a:ext>
            </a:extLst>
          </p:cNvPr>
          <p:cNvSpPr/>
          <p:nvPr/>
        </p:nvSpPr>
        <p:spPr>
          <a:xfrm>
            <a:off x="4295185" y="117404"/>
            <a:ext cx="3600000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SAP RISE UA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78829250-8CD3-8E79-1D4C-AE8A5ABF0553}"/>
              </a:ext>
            </a:extLst>
          </p:cNvPr>
          <p:cNvGrpSpPr/>
          <p:nvPr/>
        </p:nvGrpSpPr>
        <p:grpSpPr>
          <a:xfrm>
            <a:off x="4227408" y="479513"/>
            <a:ext cx="3638440" cy="2212504"/>
            <a:chOff x="7106237" y="1310709"/>
            <a:chExt cx="4667841" cy="2686406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C49F3B5D-7859-5B6F-9F9B-F50D8AE93F45}"/>
                </a:ext>
              </a:extLst>
            </p:cNvPr>
            <p:cNvSpPr/>
            <p:nvPr/>
          </p:nvSpPr>
          <p:spPr>
            <a:xfrm>
              <a:off x="7106237" y="1310709"/>
              <a:ext cx="4667841" cy="2686406"/>
            </a:xfrm>
            <a:prstGeom prst="roundRect">
              <a:avLst>
                <a:gd name="adj" fmla="val 494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BMWTypeRegular" panose="020B0604020202020204" pitchFamily="34" charset="0"/>
                <a:ea typeface="BMWTypeNext Kr Regular"/>
              </a:endParaRPr>
            </a:p>
          </p:txBody>
        </p:sp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296D5B3B-79B6-E562-B4E0-C08CDA8C0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52949" y="1402545"/>
              <a:ext cx="4201875" cy="2481297"/>
            </a:xfrm>
            <a:prstGeom prst="rect">
              <a:avLst/>
            </a:prstGeom>
          </p:spPr>
        </p:pic>
      </p:grpSp>
      <p:sp>
        <p:nvSpPr>
          <p:cNvPr id="27" name="내용 개체 틀 5">
            <a:extLst>
              <a:ext uri="{FF2B5EF4-FFF2-40B4-BE49-F238E27FC236}">
                <a16:creationId xmlns:a16="http://schemas.microsoft.com/office/drawing/2014/main" id="{BFDDAE09-43F2-02BE-B488-DE0DE6D7EEC3}"/>
              </a:ext>
            </a:extLst>
          </p:cNvPr>
          <p:cNvSpPr txBox="1">
            <a:spLocks/>
          </p:cNvSpPr>
          <p:nvPr/>
        </p:nvSpPr>
        <p:spPr>
          <a:xfrm>
            <a:off x="4268287" y="2875577"/>
            <a:ext cx="3597561" cy="3716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English Meeting with Colleagues Abroad! </a:t>
            </a:r>
          </a:p>
        </p:txBody>
      </p:sp>
      <p:sp>
        <p:nvSpPr>
          <p:cNvPr id="28" name="화살표: 오각형 27">
            <a:extLst>
              <a:ext uri="{FF2B5EF4-FFF2-40B4-BE49-F238E27FC236}">
                <a16:creationId xmlns:a16="http://schemas.microsoft.com/office/drawing/2014/main" id="{3AA092E9-AACA-0FCF-6546-0B298B97613F}"/>
              </a:ext>
            </a:extLst>
          </p:cNvPr>
          <p:cNvSpPr/>
          <p:nvPr/>
        </p:nvSpPr>
        <p:spPr>
          <a:xfrm>
            <a:off x="8123058" y="117194"/>
            <a:ext cx="3600000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IDS Dealer Manual Creation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6FA1F25C-378A-D8A0-2411-913B021245C5}"/>
              </a:ext>
            </a:extLst>
          </p:cNvPr>
          <p:cNvSpPr/>
          <p:nvPr/>
        </p:nvSpPr>
        <p:spPr>
          <a:xfrm>
            <a:off x="8119872" y="470685"/>
            <a:ext cx="3638440" cy="2212504"/>
          </a:xfrm>
          <a:prstGeom prst="roundRect">
            <a:avLst>
              <a:gd name="adj" fmla="val 494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BMWTypeRegular" panose="020B0604020202020204" pitchFamily="34" charset="0"/>
              <a:ea typeface="BMWTypeNext Kr Regular"/>
            </a:endParaRPr>
          </a:p>
        </p:txBody>
      </p:sp>
      <p:pic>
        <p:nvPicPr>
          <p:cNvPr id="31" name="그림 30">
            <a:extLst>
              <a:ext uri="{FF2B5EF4-FFF2-40B4-BE49-F238E27FC236}">
                <a16:creationId xmlns:a16="http://schemas.microsoft.com/office/drawing/2014/main" id="{6F7E8114-CE1F-1381-B222-548A5D3B8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28838" y="555148"/>
            <a:ext cx="1538694" cy="204357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9C812658-58D2-77F9-4566-FDB6B45008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3575" y="555148"/>
            <a:ext cx="1538694" cy="2049577"/>
          </a:xfrm>
          <a:prstGeom prst="rect">
            <a:avLst/>
          </a:prstGeom>
        </p:spPr>
      </p:pic>
      <p:sp>
        <p:nvSpPr>
          <p:cNvPr id="34" name="내용 개체 틀 5">
            <a:extLst>
              <a:ext uri="{FF2B5EF4-FFF2-40B4-BE49-F238E27FC236}">
                <a16:creationId xmlns:a16="http://schemas.microsoft.com/office/drawing/2014/main" id="{76AAFF0C-FD00-1AEC-13FD-F597BF07E326}"/>
              </a:ext>
            </a:extLst>
          </p:cNvPr>
          <p:cNvSpPr txBox="1">
            <a:spLocks/>
          </p:cNvSpPr>
          <p:nvPr/>
        </p:nvSpPr>
        <p:spPr>
          <a:xfrm>
            <a:off x="8218616" y="2875577"/>
            <a:ext cx="3597561" cy="3716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Distributed to Numerous Dealers!</a:t>
            </a:r>
          </a:p>
        </p:txBody>
      </p:sp>
      <p:sp>
        <p:nvSpPr>
          <p:cNvPr id="35" name="화살표: 오각형 34">
            <a:extLst>
              <a:ext uri="{FF2B5EF4-FFF2-40B4-BE49-F238E27FC236}">
                <a16:creationId xmlns:a16="http://schemas.microsoft.com/office/drawing/2014/main" id="{B4AB7C6E-B198-45A7-E3CF-19B8746F361F}"/>
              </a:ext>
            </a:extLst>
          </p:cNvPr>
          <p:cNvSpPr/>
          <p:nvPr/>
        </p:nvSpPr>
        <p:spPr>
          <a:xfrm>
            <a:off x="8170261" y="3354922"/>
            <a:ext cx="3694269" cy="269579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 err="1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MyDMS</a:t>
            </a:r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 Dealer CCB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36" name="화살표: 오각형 35">
            <a:extLst>
              <a:ext uri="{FF2B5EF4-FFF2-40B4-BE49-F238E27FC236}">
                <a16:creationId xmlns:a16="http://schemas.microsoft.com/office/drawing/2014/main" id="{A4A1D836-A99F-17DE-E0C0-D2961037FEBC}"/>
              </a:ext>
            </a:extLst>
          </p:cNvPr>
          <p:cNvSpPr/>
          <p:nvPr/>
        </p:nvSpPr>
        <p:spPr>
          <a:xfrm>
            <a:off x="466912" y="3353662"/>
            <a:ext cx="5019488" cy="26958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VDC &amp; RDC &amp; DC Visit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37" name="내용 개체 틀 5">
            <a:extLst>
              <a:ext uri="{FF2B5EF4-FFF2-40B4-BE49-F238E27FC236}">
                <a16:creationId xmlns:a16="http://schemas.microsoft.com/office/drawing/2014/main" id="{76A078EF-CBA3-637B-5B49-4FF498AE5703}"/>
              </a:ext>
            </a:extLst>
          </p:cNvPr>
          <p:cNvSpPr txBox="1">
            <a:spLocks/>
          </p:cNvSpPr>
          <p:nvPr/>
        </p:nvSpPr>
        <p:spPr>
          <a:xfrm>
            <a:off x="1002826" y="6047814"/>
            <a:ext cx="4416798" cy="6686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See how our system is operating in person!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Best Part of My Whole Internship  TBH.. </a:t>
            </a: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FD8B7A29-6F1C-2C14-8251-9175A8E0C27F}"/>
              </a:ext>
            </a:extLst>
          </p:cNvPr>
          <p:cNvGrpSpPr/>
          <p:nvPr/>
        </p:nvGrpSpPr>
        <p:grpSpPr>
          <a:xfrm>
            <a:off x="8170261" y="3732202"/>
            <a:ext cx="3588051" cy="2212504"/>
            <a:chOff x="8170261" y="4156932"/>
            <a:chExt cx="3638440" cy="2212504"/>
          </a:xfrm>
        </p:grpSpPr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2C2F9500-C3D5-F868-3435-8296BDE44EBF}"/>
                </a:ext>
              </a:extLst>
            </p:cNvPr>
            <p:cNvSpPr/>
            <p:nvPr/>
          </p:nvSpPr>
          <p:spPr>
            <a:xfrm>
              <a:off x="8170261" y="4156932"/>
              <a:ext cx="3638440" cy="2212504"/>
            </a:xfrm>
            <a:prstGeom prst="roundRect">
              <a:avLst>
                <a:gd name="adj" fmla="val 494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BMWTypeRegular" panose="020B0604020202020204" pitchFamily="34" charset="0"/>
                <a:ea typeface="BMWTypeNext Kr Regular"/>
              </a:endParaRPr>
            </a:p>
          </p:txBody>
        </p:sp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B56F63BE-3B15-A1B4-9B31-9AC8CD059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83131" y="4198772"/>
              <a:ext cx="2868527" cy="2086201"/>
            </a:xfrm>
            <a:prstGeom prst="rect">
              <a:avLst/>
            </a:prstGeom>
          </p:spPr>
        </p:pic>
      </p:grpSp>
      <p:sp>
        <p:nvSpPr>
          <p:cNvPr id="38" name="내용 개체 틀 5">
            <a:extLst>
              <a:ext uri="{FF2B5EF4-FFF2-40B4-BE49-F238E27FC236}">
                <a16:creationId xmlns:a16="http://schemas.microsoft.com/office/drawing/2014/main" id="{DA043BF8-F6A1-D932-39DE-E85481F036AD}"/>
              </a:ext>
            </a:extLst>
          </p:cNvPr>
          <p:cNvSpPr txBox="1">
            <a:spLocks/>
          </p:cNvSpPr>
          <p:nvPr/>
        </p:nvSpPr>
        <p:spPr>
          <a:xfrm>
            <a:off x="8429970" y="6011103"/>
            <a:ext cx="3597561" cy="6686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Developer &amp; PM &amp; User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Negotiation? Debate?</a:t>
            </a:r>
          </a:p>
          <a:p>
            <a:pPr marL="0" indent="0" algn="ctr">
              <a:buFont typeface="Wingdings" panose="05000000000000000000" pitchFamily="2" charset="2"/>
              <a:buNone/>
            </a:pPr>
            <a:endParaRPr lang="en-US" altLang="ko-KR" b="1" dirty="0">
              <a:solidFill>
                <a:srgbClr val="173B68"/>
              </a:solidFill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0758F3F9-A551-417E-6130-BCF52436F92A}"/>
              </a:ext>
            </a:extLst>
          </p:cNvPr>
          <p:cNvSpPr/>
          <p:nvPr/>
        </p:nvSpPr>
        <p:spPr>
          <a:xfrm>
            <a:off x="374833" y="3774042"/>
            <a:ext cx="5111567" cy="2212504"/>
          </a:xfrm>
          <a:prstGeom prst="roundRect">
            <a:avLst>
              <a:gd name="adj" fmla="val 494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BMWTypeRegular" panose="020B0604020202020204" pitchFamily="34" charset="0"/>
              <a:ea typeface="BMWTypeNext Kr Regular"/>
            </a:endParaRPr>
          </a:p>
        </p:txBody>
      </p:sp>
      <p:pic>
        <p:nvPicPr>
          <p:cNvPr id="47" name="그림 46">
            <a:extLst>
              <a:ext uri="{FF2B5EF4-FFF2-40B4-BE49-F238E27FC236}">
                <a16:creationId xmlns:a16="http://schemas.microsoft.com/office/drawing/2014/main" id="{0FC7E44B-F0F2-4FF6-E913-BF7D96BC86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9700" y="3966067"/>
            <a:ext cx="2393534" cy="1744773"/>
          </a:xfrm>
          <a:prstGeom prst="rect">
            <a:avLst/>
          </a:prstGeom>
        </p:spPr>
      </p:pic>
      <p:sp>
        <p:nvSpPr>
          <p:cNvPr id="52" name="하트 51">
            <a:extLst>
              <a:ext uri="{FF2B5EF4-FFF2-40B4-BE49-F238E27FC236}">
                <a16:creationId xmlns:a16="http://schemas.microsoft.com/office/drawing/2014/main" id="{C9734E7B-414F-64F1-721A-0822F0CA32F1}"/>
              </a:ext>
            </a:extLst>
          </p:cNvPr>
          <p:cNvSpPr/>
          <p:nvPr/>
        </p:nvSpPr>
        <p:spPr>
          <a:xfrm>
            <a:off x="3281722" y="4477768"/>
            <a:ext cx="691662" cy="621323"/>
          </a:xfrm>
          <a:prstGeom prst="hear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5" name="화살표: 오각형 54">
            <a:extLst>
              <a:ext uri="{FF2B5EF4-FFF2-40B4-BE49-F238E27FC236}">
                <a16:creationId xmlns:a16="http://schemas.microsoft.com/office/drawing/2014/main" id="{5A054D95-1586-CFEF-CD48-B070E522F1E8}"/>
              </a:ext>
            </a:extLst>
          </p:cNvPr>
          <p:cNvSpPr/>
          <p:nvPr/>
        </p:nvSpPr>
        <p:spPr>
          <a:xfrm>
            <a:off x="5577488" y="3344482"/>
            <a:ext cx="2542383" cy="27876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sz="1200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Team building</a:t>
            </a:r>
            <a:endParaRPr lang="ko-KR" altLang="en-US" sz="1200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CA210264-BF78-5E12-B731-8B209784DEB0}"/>
              </a:ext>
            </a:extLst>
          </p:cNvPr>
          <p:cNvSpPr/>
          <p:nvPr/>
        </p:nvSpPr>
        <p:spPr>
          <a:xfrm>
            <a:off x="5693752" y="3774042"/>
            <a:ext cx="2309853" cy="2177998"/>
          </a:xfrm>
          <a:prstGeom prst="roundRect">
            <a:avLst>
              <a:gd name="adj" fmla="val 494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BMWTypeRegular" panose="020B0604020202020204" pitchFamily="34" charset="0"/>
              <a:ea typeface="BMWTypeNext Kr Regular"/>
            </a:endParaRPr>
          </a:p>
        </p:txBody>
      </p:sp>
      <p:pic>
        <p:nvPicPr>
          <p:cNvPr id="60" name="그림 59">
            <a:extLst>
              <a:ext uri="{FF2B5EF4-FFF2-40B4-BE49-F238E27FC236}">
                <a16:creationId xmlns:a16="http://schemas.microsoft.com/office/drawing/2014/main" id="{E5CB7647-E09A-1BFD-3B66-28A7BDD007FF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0159" r="13362"/>
          <a:stretch/>
        </p:blipFill>
        <p:spPr>
          <a:xfrm>
            <a:off x="5756295" y="4031896"/>
            <a:ext cx="2109553" cy="1513066"/>
          </a:xfrm>
          <a:prstGeom prst="rect">
            <a:avLst/>
          </a:prstGeom>
        </p:spPr>
      </p:pic>
      <p:sp>
        <p:nvSpPr>
          <p:cNvPr id="61" name="내용 개체 틀 5">
            <a:extLst>
              <a:ext uri="{FF2B5EF4-FFF2-40B4-BE49-F238E27FC236}">
                <a16:creationId xmlns:a16="http://schemas.microsoft.com/office/drawing/2014/main" id="{5617FEA6-2CED-3602-3417-FA46B1F4BC5E}"/>
              </a:ext>
            </a:extLst>
          </p:cNvPr>
          <p:cNvSpPr txBox="1">
            <a:spLocks/>
          </p:cNvSpPr>
          <p:nvPr/>
        </p:nvSpPr>
        <p:spPr>
          <a:xfrm>
            <a:off x="4716398" y="6002104"/>
            <a:ext cx="4416798" cy="6686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Brining Energy from Han River</a:t>
            </a:r>
            <a:b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</a:br>
            <a:r>
              <a:rPr lang="en-US" altLang="ko-KR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to Office!</a:t>
            </a:r>
          </a:p>
        </p:txBody>
      </p:sp>
      <p:pic>
        <p:nvPicPr>
          <p:cNvPr id="62" name="그림 개체 틀 10">
            <a:extLst>
              <a:ext uri="{FF2B5EF4-FFF2-40B4-BE49-F238E27FC236}">
                <a16:creationId xmlns:a16="http://schemas.microsoft.com/office/drawing/2014/main" id="{02CBBED2-5500-146F-3309-6F77761F7FDF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5236" r="5236"/>
          <a:stretch>
            <a:fillRect/>
          </a:stretch>
        </p:blipFill>
        <p:spPr>
          <a:xfrm>
            <a:off x="545750" y="3982056"/>
            <a:ext cx="2156193" cy="1744773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76763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9063DD95-52C5-40AB-4F26-732BB3BE501E}"/>
              </a:ext>
            </a:extLst>
          </p:cNvPr>
          <p:cNvSpPr/>
          <p:nvPr/>
        </p:nvSpPr>
        <p:spPr>
          <a:xfrm>
            <a:off x="668230" y="201807"/>
            <a:ext cx="10828446" cy="353341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b="1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GCS (GETCHA Scraper) Development</a:t>
            </a:r>
            <a:endParaRPr lang="ko-KR" altLang="en-US" b="1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6FA1F25C-378A-D8A0-2411-913B021245C5}"/>
              </a:ext>
            </a:extLst>
          </p:cNvPr>
          <p:cNvSpPr/>
          <p:nvPr/>
        </p:nvSpPr>
        <p:spPr>
          <a:xfrm>
            <a:off x="668229" y="1471390"/>
            <a:ext cx="10828446" cy="4386485"/>
          </a:xfrm>
          <a:prstGeom prst="roundRect">
            <a:avLst>
              <a:gd name="adj" fmla="val 494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BMWTypeRegular" panose="020B0604020202020204" pitchFamily="34" charset="0"/>
              <a:ea typeface="BMWTypeNext Kr Regular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D3F4457-A9EE-D536-BAE2-8C66EC5EE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259" y="2653350"/>
            <a:ext cx="5712163" cy="273326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10A4334-FBD5-33D5-6F7D-888E46296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051" y="608361"/>
            <a:ext cx="1419118" cy="126067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97ED00-606E-69BD-4569-3F562DFF766E}"/>
              </a:ext>
            </a:extLst>
          </p:cNvPr>
          <p:cNvSpPr txBox="1"/>
          <p:nvPr/>
        </p:nvSpPr>
        <p:spPr>
          <a:xfrm>
            <a:off x="2172217" y="697261"/>
            <a:ext cx="7847565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i="0" dirty="0">
                <a:solidFill>
                  <a:srgbClr val="172B4D"/>
                </a:solidFill>
                <a:effectLst/>
                <a:latin typeface="+mj-lt"/>
              </a:rPr>
              <a:t> 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ython-based web scraper (Similar to RPA) that automatically collects discount information for imported car brands from the GETCHA website (mobile) </a:t>
            </a:r>
            <a:b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</a:br>
            <a: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and saves the data as an Excel file.</a:t>
            </a:r>
            <a:endParaRPr lang="ko-KR" altLang="en-US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DBE4DFD-D9A7-88AB-77F1-0150326FAB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831" y="1567868"/>
            <a:ext cx="4972176" cy="312298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E18157C-AE33-8F43-A14F-732491299F12}"/>
              </a:ext>
            </a:extLst>
          </p:cNvPr>
          <p:cNvSpPr txBox="1"/>
          <p:nvPr/>
        </p:nvSpPr>
        <p:spPr>
          <a:xfrm>
            <a:off x="2267467" y="5941889"/>
            <a:ext cx="784756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dirty="0">
                <a:solidFill>
                  <a:srgbClr val="172B4D"/>
                </a:solidFill>
                <a:latin typeface="+mj-lt"/>
                <a:ea typeface="맑은 고딕" panose="020B0503020000020004" pitchFamily="50" charset="-127"/>
              </a:rPr>
              <a:t>Developed started from the request of Sales Intern Wi Donghyun.</a:t>
            </a:r>
            <a:br>
              <a:rPr lang="en-US" altLang="ko-KR" sz="1600" dirty="0">
                <a:solidFill>
                  <a:srgbClr val="172B4D"/>
                </a:solidFill>
                <a:latin typeface="+mj-lt"/>
                <a:ea typeface="맑은 고딕" panose="020B0503020000020004" pitchFamily="50" charset="-127"/>
              </a:rPr>
            </a:br>
            <a:r>
              <a:rPr lang="en-US" altLang="ko-KR" sz="1600" dirty="0">
                <a:solidFill>
                  <a:srgbClr val="172B4D"/>
                </a:solidFill>
                <a:latin typeface="+mj-lt"/>
                <a:ea typeface="맑은 고딕" panose="020B0503020000020004" pitchFamily="50" charset="-127"/>
              </a:rPr>
              <a:t>Current User: Sales Manager Ryu Gayoung.</a:t>
            </a:r>
            <a:endParaRPr lang="ko-KR" altLang="en-US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" name="화살표: 위로 굽음 22">
            <a:extLst>
              <a:ext uri="{FF2B5EF4-FFF2-40B4-BE49-F238E27FC236}">
                <a16:creationId xmlns:a16="http://schemas.microsoft.com/office/drawing/2014/main" id="{0D4A6D3E-34DC-24CD-BE5D-EF8F03EBB965}"/>
              </a:ext>
            </a:extLst>
          </p:cNvPr>
          <p:cNvSpPr/>
          <p:nvPr/>
        </p:nvSpPr>
        <p:spPr>
          <a:xfrm rot="5400000">
            <a:off x="4198749" y="3732024"/>
            <a:ext cx="500270" cy="2417931"/>
          </a:xfrm>
          <a:prstGeom prst="bentUpArrow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34D70E-19AF-0F83-191E-7ADA70E16213}"/>
              </a:ext>
            </a:extLst>
          </p:cNvPr>
          <p:cNvSpPr txBox="1"/>
          <p:nvPr/>
        </p:nvSpPr>
        <p:spPr>
          <a:xfrm>
            <a:off x="4653714" y="1922248"/>
            <a:ext cx="7847565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b="1" i="0" u="sng" dirty="0">
                <a:solidFill>
                  <a:srgbClr val="172B4D"/>
                </a:solidFill>
                <a:latin typeface="+mj-lt"/>
              </a:rPr>
              <a:t>https://gcs.bmwkr.ap-northeast-2.aws.cloud.bmw/</a:t>
            </a:r>
            <a:endParaRPr lang="ko-KR" altLang="en-US" b="1" u="sng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8834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9063DD95-52C5-40AB-4F26-732BB3BE501E}"/>
              </a:ext>
            </a:extLst>
          </p:cNvPr>
          <p:cNvSpPr/>
          <p:nvPr/>
        </p:nvSpPr>
        <p:spPr>
          <a:xfrm>
            <a:off x="668230" y="201807"/>
            <a:ext cx="10828446" cy="353341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92" latinLnBrk="0"/>
            <a:r>
              <a:rPr lang="en-US" altLang="ko-KR" b="1" dirty="0">
                <a:solidFill>
                  <a:srgbClr val="000000"/>
                </a:solidFill>
                <a:latin typeface="BMWGroupTN Condensed"/>
                <a:ea typeface="맑은 고딕" panose="020B0503020000020004" pitchFamily="50" charset="-127"/>
              </a:rPr>
              <a:t>GCS (GETCHA Scraper) Development</a:t>
            </a:r>
            <a:endParaRPr lang="ko-KR" altLang="en-US" b="1" dirty="0">
              <a:solidFill>
                <a:srgbClr val="000000"/>
              </a:solidFill>
              <a:latin typeface="BMWGroupTN Condensed"/>
              <a:ea typeface="맑은 고딕" panose="020B0503020000020004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6FA1F25C-378A-D8A0-2411-913B021245C5}"/>
              </a:ext>
            </a:extLst>
          </p:cNvPr>
          <p:cNvSpPr/>
          <p:nvPr/>
        </p:nvSpPr>
        <p:spPr>
          <a:xfrm>
            <a:off x="534879" y="1531871"/>
            <a:ext cx="10828446" cy="5015135"/>
          </a:xfrm>
          <a:prstGeom prst="roundRect">
            <a:avLst>
              <a:gd name="adj" fmla="val 494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BMWTypeRegular" panose="020B0604020202020204" pitchFamily="34" charset="0"/>
              <a:ea typeface="BMWTypeNext Kr Regular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34D70E-19AF-0F83-191E-7ADA70E16213}"/>
              </a:ext>
            </a:extLst>
          </p:cNvPr>
          <p:cNvSpPr txBox="1"/>
          <p:nvPr/>
        </p:nvSpPr>
        <p:spPr>
          <a:xfrm>
            <a:off x="2405814" y="1647376"/>
            <a:ext cx="7847565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b="1" i="0" u="sng" dirty="0">
                <a:solidFill>
                  <a:srgbClr val="172B4D"/>
                </a:solidFill>
                <a:latin typeface="+mj-lt"/>
              </a:rPr>
              <a:t>https://gcs.bmwkr.ap-northeast-2.aws.cloud.bmw/</a:t>
            </a:r>
            <a:endParaRPr lang="ko-KR" altLang="en-US" b="1" u="sng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EFAD4B7-EBD7-9D0B-7D9F-3836471172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724" y="2539757"/>
            <a:ext cx="5487903" cy="330824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82D672A-311D-C9D4-E714-8E90BE9C24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30" y="3837947"/>
            <a:ext cx="4999146" cy="2184731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FD22F70E-6DFF-3001-7009-64C3C5A92F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6944" y="1923070"/>
            <a:ext cx="2175892" cy="19329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FDE6564-30D8-5EC5-2AA6-B8E55C05925A}"/>
              </a:ext>
            </a:extLst>
          </p:cNvPr>
          <p:cNvSpPr txBox="1"/>
          <p:nvPr/>
        </p:nvSpPr>
        <p:spPr>
          <a:xfrm>
            <a:off x="2172217" y="697261"/>
            <a:ext cx="7847565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lang="en-US" altLang="ko-KR" sz="1600" i="0" dirty="0">
                <a:solidFill>
                  <a:srgbClr val="172B4D"/>
                </a:solidFill>
                <a:effectLst/>
                <a:latin typeface="+mj-lt"/>
              </a:rPr>
              <a:t> 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ython-based web scraper (Similar to RPA) that automatically collects discount information for imported car brands from the GETCHA website (mobile) </a:t>
            </a:r>
            <a:b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</a:br>
            <a:r>
              <a:rPr lang="en-US" altLang="ko-KR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and saves the data as an Excel file.</a:t>
            </a:r>
            <a:endParaRPr lang="ko-KR" altLang="en-US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00052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0" name="3D 모델 19" descr="A stone and wood pedestal">
                <a:extLst>
                  <a:ext uri="{FF2B5EF4-FFF2-40B4-BE49-F238E27FC236}">
                    <a16:creationId xmlns:a16="http://schemas.microsoft.com/office/drawing/2014/main" id="{935D7858-DAEF-8A32-39D0-5F635B622F0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29419321"/>
                  </p:ext>
                </p:extLst>
              </p:nvPr>
            </p:nvGraphicFramePr>
            <p:xfrm>
              <a:off x="812347" y="4030153"/>
              <a:ext cx="2830321" cy="5264105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2830321" cy="5264105"/>
                    </a:xfrm>
                    <a:prstGeom prst="rect">
                      <a:avLst/>
                    </a:prstGeom>
                  </am3d:spPr>
                  <am3d:camera>
                    <am3d:pos x="0" y="0" z="526086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738" d="1000000"/>
                    <am3d:preTrans dx="664206" dy="-11756457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2855401" ay="2247298" az="2019251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418666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0" name="3D 모델 19" descr="A stone and wood pedestal">
                <a:extLst>
                  <a:ext uri="{FF2B5EF4-FFF2-40B4-BE49-F238E27FC236}">
                    <a16:creationId xmlns:a16="http://schemas.microsoft.com/office/drawing/2014/main" id="{935D7858-DAEF-8A32-39D0-5F635B622F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12347" y="4030153"/>
                <a:ext cx="2830321" cy="5264105"/>
              </a:xfrm>
              <a:prstGeom prst="rect">
                <a:avLst/>
              </a:prstGeom>
            </p:spPr>
          </p:pic>
        </mc:Fallback>
      </mc:AlternateContent>
      <p:sp>
        <p:nvSpPr>
          <p:cNvPr id="3" name="제목 5">
            <a:extLst>
              <a:ext uri="{FF2B5EF4-FFF2-40B4-BE49-F238E27FC236}">
                <a16:creationId xmlns:a16="http://schemas.microsoft.com/office/drawing/2014/main" id="{2A5C7280-DB6C-420B-2CFD-0AE1534FF78C}"/>
              </a:ext>
            </a:extLst>
          </p:cNvPr>
          <p:cNvSpPr txBox="1">
            <a:spLocks/>
          </p:cNvSpPr>
          <p:nvPr/>
        </p:nvSpPr>
        <p:spPr>
          <a:xfrm>
            <a:off x="488947" y="347184"/>
            <a:ext cx="11224684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200">
                <a:latin typeface="+mn-lt"/>
                <a:ea typeface="맑은 고딕" panose="020B0503020000020004" pitchFamily="50" charset="-127"/>
              </a:rPr>
              <a:t>What I’ve gained</a:t>
            </a:r>
            <a:endParaRPr lang="ko-KR" altLang="en-US" sz="3200" dirty="0">
              <a:latin typeface="+mn-lt"/>
              <a:ea typeface="맑은 고딕" panose="020B0503020000020004" pitchFamily="50" charset="-127"/>
            </a:endParaRPr>
          </a:p>
        </p:txBody>
      </p:sp>
      <p:pic>
        <p:nvPicPr>
          <p:cNvPr id="8" name="Picture 2" descr="Build Confidence &amp; Self-Esteem | Therapist Tips That Work">
            <a:extLst>
              <a:ext uri="{FF2B5EF4-FFF2-40B4-BE49-F238E27FC236}">
                <a16:creationId xmlns:a16="http://schemas.microsoft.com/office/drawing/2014/main" id="{8426F2D3-17C3-1435-5619-CEA2066CF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892" y="724001"/>
            <a:ext cx="3083664" cy="2135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618F42D-4241-43CE-E876-2E8EE3D240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945" y="1610648"/>
            <a:ext cx="1817087" cy="2135724"/>
          </a:xfrm>
          <a:prstGeom prst="rect">
            <a:avLst/>
          </a:prstGeom>
        </p:spPr>
      </p:pic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0" name="3D 모델 9" descr="A stone and wood pedestal">
                <a:extLst>
                  <a:ext uri="{FF2B5EF4-FFF2-40B4-BE49-F238E27FC236}">
                    <a16:creationId xmlns:a16="http://schemas.microsoft.com/office/drawing/2014/main" id="{EC4FD348-F02D-C250-D7D2-3A680F61F9A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43420071"/>
                  </p:ext>
                </p:extLst>
              </p:nvPr>
            </p:nvGraphicFramePr>
            <p:xfrm>
              <a:off x="4653549" y="2960555"/>
              <a:ext cx="2830321" cy="5264105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2830321" cy="5264105"/>
                    </a:xfrm>
                    <a:prstGeom prst="rect">
                      <a:avLst/>
                    </a:prstGeom>
                  </am3d:spPr>
                  <am3d:camera>
                    <am3d:pos x="0" y="0" z="526086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738" d="1000000"/>
                    <am3d:preTrans dx="664206" dy="-11756457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2855401" ay="2247298" az="2019251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418666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0" name="3D 모델 9" descr="A stone and wood pedestal">
                <a:extLst>
                  <a:ext uri="{FF2B5EF4-FFF2-40B4-BE49-F238E27FC236}">
                    <a16:creationId xmlns:a16="http://schemas.microsoft.com/office/drawing/2014/main" id="{EC4FD348-F02D-C250-D7D2-3A680F61F9A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53549" y="2960555"/>
                <a:ext cx="2830321" cy="5264105"/>
              </a:xfrm>
              <a:prstGeom prst="rect">
                <a:avLst/>
              </a:prstGeom>
            </p:spPr>
          </p:pic>
        </mc:Fallback>
      </mc:AlternateContent>
      <p:sp>
        <p:nvSpPr>
          <p:cNvPr id="7" name="내용 개체 틀 3">
            <a:extLst>
              <a:ext uri="{FF2B5EF4-FFF2-40B4-BE49-F238E27FC236}">
                <a16:creationId xmlns:a16="http://schemas.microsoft.com/office/drawing/2014/main" id="{5541794D-09EA-5E33-EE79-4C2D3D146121}"/>
              </a:ext>
            </a:extLst>
          </p:cNvPr>
          <p:cNvSpPr txBox="1">
            <a:spLocks/>
          </p:cNvSpPr>
          <p:nvPr/>
        </p:nvSpPr>
        <p:spPr>
          <a:xfrm>
            <a:off x="4193444" y="3146443"/>
            <a:ext cx="3805111" cy="1434094"/>
          </a:xfrm>
          <a:prstGeom prst="rect">
            <a:avLst/>
          </a:prstGeom>
        </p:spPr>
        <p:txBody>
          <a:bodyPr anchor="ctr"/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600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CONFIDENCE </a:t>
            </a:r>
          </a:p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200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The most valuable thing I’ve gained</a:t>
            </a:r>
            <a:r>
              <a:rPr lang="en-US" altLang="ko-KR" sz="3200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.</a:t>
            </a:r>
            <a:endParaRPr lang="en-US" altLang="ko-KR" sz="2400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5" name="3D 모델 14" descr="A stone and wood pedestal">
                <a:extLst>
                  <a:ext uri="{FF2B5EF4-FFF2-40B4-BE49-F238E27FC236}">
                    <a16:creationId xmlns:a16="http://schemas.microsoft.com/office/drawing/2014/main" id="{5133A79D-DBA3-E31B-497A-1ADDA6E75F4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40102786"/>
                  </p:ext>
                </p:extLst>
              </p:nvPr>
            </p:nvGraphicFramePr>
            <p:xfrm>
              <a:off x="8549329" y="3927530"/>
              <a:ext cx="2830321" cy="5264105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2830321" cy="5264105"/>
                    </a:xfrm>
                    <a:prstGeom prst="rect">
                      <a:avLst/>
                    </a:prstGeom>
                  </am3d:spPr>
                  <am3d:camera>
                    <am3d:pos x="0" y="0" z="526086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738" d="1000000"/>
                    <am3d:preTrans dx="664206" dy="-11756457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2855401" ay="2247298" az="2019251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418666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5" name="3D 모델 14" descr="A stone and wood pedestal">
                <a:extLst>
                  <a:ext uri="{FF2B5EF4-FFF2-40B4-BE49-F238E27FC236}">
                    <a16:creationId xmlns:a16="http://schemas.microsoft.com/office/drawing/2014/main" id="{5133A79D-DBA3-E31B-497A-1ADDA6E75F4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549329" y="3927530"/>
                <a:ext cx="2830321" cy="5264105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내용 개체 틀 3">
            <a:extLst>
              <a:ext uri="{FF2B5EF4-FFF2-40B4-BE49-F238E27FC236}">
                <a16:creationId xmlns:a16="http://schemas.microsoft.com/office/drawing/2014/main" id="{07D6486C-59C7-DA64-668C-BDB5E751BF7A}"/>
              </a:ext>
            </a:extLst>
          </p:cNvPr>
          <p:cNvSpPr txBox="1">
            <a:spLocks/>
          </p:cNvSpPr>
          <p:nvPr/>
        </p:nvSpPr>
        <p:spPr>
          <a:xfrm>
            <a:off x="7998553" y="3927530"/>
            <a:ext cx="3805111" cy="1434094"/>
          </a:xfrm>
          <a:prstGeom prst="rect">
            <a:avLst/>
          </a:prstGeom>
        </p:spPr>
        <p:txBody>
          <a:bodyPr anchor="ctr"/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600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Love with BMW</a:t>
            </a:r>
          </a:p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200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The GOAT</a:t>
            </a:r>
            <a:r>
              <a:rPr lang="en-US" altLang="ko-KR" sz="3200" b="1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.</a:t>
            </a:r>
            <a:endParaRPr lang="en-US" altLang="ko-KR" sz="2400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19" name="내용 개체 틀 3">
            <a:extLst>
              <a:ext uri="{FF2B5EF4-FFF2-40B4-BE49-F238E27FC236}">
                <a16:creationId xmlns:a16="http://schemas.microsoft.com/office/drawing/2014/main" id="{634D4ACC-7255-6137-B2F2-1E111AF6E368}"/>
              </a:ext>
            </a:extLst>
          </p:cNvPr>
          <p:cNvSpPr txBox="1">
            <a:spLocks/>
          </p:cNvSpPr>
          <p:nvPr/>
        </p:nvSpPr>
        <p:spPr>
          <a:xfrm>
            <a:off x="288220" y="3927530"/>
            <a:ext cx="3805111" cy="1434094"/>
          </a:xfrm>
          <a:prstGeom prst="rect">
            <a:avLst/>
          </a:prstGeom>
        </p:spPr>
        <p:txBody>
          <a:bodyPr anchor="ctr"/>
          <a:lstStyle>
            <a:lvl1pPr marL="1908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600" b="1" dirty="0">
                <a:solidFill>
                  <a:srgbClr val="173B68"/>
                </a:solidFill>
                <a:latin typeface="BMW Group Condensed" panose="020B0606020202020204" pitchFamily="34" charset="0"/>
                <a:ea typeface="맑은 고딕" panose="020B0503020000020004" pitchFamily="50" charset="-127"/>
              </a:rPr>
              <a:t>Love with IT.</a:t>
            </a:r>
          </a:p>
          <a:p>
            <a:pPr marL="0" indent="0" algn="ctr">
              <a:buFont typeface="Wingdings" panose="05000000000000000000" pitchFamily="2" charset="2"/>
              <a:buNone/>
            </a:pPr>
            <a:r>
              <a:rPr lang="en-US" altLang="ko-KR" sz="3200" dirty="0">
                <a:latin typeface="BMW Group Condensed" panose="020B0606020202020204" pitchFamily="34" charset="0"/>
                <a:ea typeface="맑은 고딕" panose="020B0503020000020004" pitchFamily="50" charset="-127"/>
              </a:rPr>
              <a:t>As my career path.</a:t>
            </a:r>
            <a:endParaRPr lang="en-US" altLang="ko-KR" sz="2400" dirty="0">
              <a:latin typeface="BMW Group Condensed" panose="020B0606020202020204" pitchFamily="34" charset="0"/>
              <a:ea typeface="맑은 고딕" panose="020B0503020000020004" pitchFamily="50" charset="-127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1EFA7581-5DCE-4C46-A137-50DAB57A0E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091" y="1791862"/>
            <a:ext cx="2863367" cy="1894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61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3.xml><?xml version="1.0" encoding="utf-8"?>
<a:theme xmlns:a="http://schemas.openxmlformats.org/drawingml/2006/main" name="2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 Group 2021" id="{BC5C2D5E-60A6-4966-95B0-EE9BA1246145}" vid="{29941E0A-68EE-4A6E-988A-4CF164824C13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4</Words>
  <Application>Microsoft Office PowerPoint</Application>
  <PresentationFormat>와이드스크린</PresentationFormat>
  <Paragraphs>189</Paragraphs>
  <Slides>24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24</vt:i4>
      </vt:variant>
    </vt:vector>
  </HeadingPairs>
  <TitlesOfParts>
    <vt:vector size="36" baseType="lpstr">
      <vt:lpstr>BMWGroupTN Condensed Pro</vt:lpstr>
      <vt:lpstr>맑은 고딕</vt:lpstr>
      <vt:lpstr>Arial</vt:lpstr>
      <vt:lpstr>BMW Group Condensed</vt:lpstr>
      <vt:lpstr>BMWGroupTN Condensed</vt:lpstr>
      <vt:lpstr>BMWTypeRegular</vt:lpstr>
      <vt:lpstr>Wingdings</vt:lpstr>
      <vt:lpstr>Office 테마</vt:lpstr>
      <vt:lpstr>BMW Group 2021</vt:lpstr>
      <vt:lpstr>2_BMW Group 2021</vt:lpstr>
      <vt:lpstr>think-cell Folie</vt:lpstr>
      <vt:lpstr>think-cell Slide</vt:lpstr>
      <vt:lpstr>2025 1st Half internship program</vt:lpstr>
      <vt:lpstr>2025 1st half internship Overview</vt:lpstr>
      <vt:lpstr>IT BUDGET &amp; TEAM BETTY SHIN</vt:lpstr>
      <vt:lpstr>My INITIAL goals for the internship</vt:lpstr>
      <vt:lpstr>What I’ve done Over the Past 6 Months</vt:lpstr>
      <vt:lpstr>PowerPoint 프레젠테이션</vt:lpstr>
      <vt:lpstr>PowerPoint 프레젠테이션</vt:lpstr>
      <vt:lpstr>PowerPoint 프레젠테이션</vt:lpstr>
      <vt:lpstr>PowerPoint 프레젠테이션</vt:lpstr>
      <vt:lpstr>IT INFRASTRUCTURE RYU DONGHYUN</vt:lpstr>
      <vt:lpstr>My goals for the internship</vt:lpstr>
      <vt:lpstr>What I’ve done Over the Past 6 Months</vt:lpstr>
      <vt:lpstr>What I’ve done Over the Past 6 Months</vt:lpstr>
      <vt:lpstr>What I’ve done Over the Past 6 Months</vt:lpstr>
      <vt:lpstr>What I’ve done Over the Past 6 Months</vt:lpstr>
      <vt:lpstr>What I’ve done Over the Past 6 Months</vt:lpstr>
      <vt:lpstr>What I’ve done Over the Past 6 Months</vt:lpstr>
      <vt:lpstr>What I’ve done Over the Past 6 Months</vt:lpstr>
      <vt:lpstr>Memorable moments at bmw</vt:lpstr>
      <vt:lpstr>Achievements, Experiences, and Goal Attainment</vt:lpstr>
      <vt:lpstr>MY Future Plans</vt:lpstr>
      <vt:lpstr>Gratitude and reflection as I say good bye</vt:lpstr>
      <vt:lpstr>PowerPoint 프레젠테이션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oo Bonsang, C3-KR-A-1</dc:creator>
  <cp:lastModifiedBy>Shin Hyewon, FG-AP-52</cp:lastModifiedBy>
  <cp:revision>60</cp:revision>
  <dcterms:created xsi:type="dcterms:W3CDTF">2025-06-18T00:45:42Z</dcterms:created>
  <dcterms:modified xsi:type="dcterms:W3CDTF">2025-06-26T05:2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6935750-240b-48e4-a615-66942a738439_Enabled">
    <vt:lpwstr>true</vt:lpwstr>
  </property>
  <property fmtid="{D5CDD505-2E9C-101B-9397-08002B2CF9AE}" pid="3" name="MSIP_Label_e6935750-240b-48e4-a615-66942a738439_SetDate">
    <vt:lpwstr>2025-06-18T00:52:03Z</vt:lpwstr>
  </property>
  <property fmtid="{D5CDD505-2E9C-101B-9397-08002B2CF9AE}" pid="4" name="MSIP_Label_e6935750-240b-48e4-a615-66942a738439_Method">
    <vt:lpwstr>Standard</vt:lpwstr>
  </property>
  <property fmtid="{D5CDD505-2E9C-101B-9397-08002B2CF9AE}" pid="5" name="MSIP_Label_e6935750-240b-48e4-a615-66942a738439_Name">
    <vt:lpwstr>e6935750-240b-48e4-a615-66942a738439</vt:lpwstr>
  </property>
  <property fmtid="{D5CDD505-2E9C-101B-9397-08002B2CF9AE}" pid="6" name="MSIP_Label_e6935750-240b-48e4-a615-66942a738439_SiteId">
    <vt:lpwstr>ce849bab-cc1c-465b-b62e-18f07c9ac198</vt:lpwstr>
  </property>
  <property fmtid="{D5CDD505-2E9C-101B-9397-08002B2CF9AE}" pid="7" name="MSIP_Label_e6935750-240b-48e4-a615-66942a738439_ActionId">
    <vt:lpwstr>aa394ab2-8459-4b14-8b54-9cfcd9d13b3e</vt:lpwstr>
  </property>
  <property fmtid="{D5CDD505-2E9C-101B-9397-08002B2CF9AE}" pid="8" name="MSIP_Label_e6935750-240b-48e4-a615-66942a738439_ContentBits">
    <vt:lpwstr>2</vt:lpwstr>
  </property>
  <property fmtid="{D5CDD505-2E9C-101B-9397-08002B2CF9AE}" pid="9" name="ClassificationContentMarkingFooterLocations">
    <vt:lpwstr>Office 테마:8\BMW Group 2021:4\1_BMW Group 2021:7\2_BMW Group 2021:5</vt:lpwstr>
  </property>
  <property fmtid="{D5CDD505-2E9C-101B-9397-08002B2CF9AE}" pid="10" name="ClassificationContentMarkingFooterText">
    <vt:lpwstr>CONFIDENTIAL</vt:lpwstr>
  </property>
</Properties>
</file>